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5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6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7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8.xml" ContentType="application/vnd.openxmlformats-officedocument.theme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9.xml" ContentType="application/vnd.openxmlformats-officedocument.theme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10.xml" ContentType="application/vnd.openxmlformats-officedocument.theme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11.xml" ContentType="application/vnd.openxmlformats-officedocument.theme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theme/theme1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13.xml" ContentType="application/vnd.openxmlformats-officedocument.theme+xml"/>
  <Override PartName="/ppt/theme/theme1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716" r:id="rId5"/>
    <p:sldMasterId id="2147483878" r:id="rId6"/>
    <p:sldMasterId id="2147483720" r:id="rId7"/>
    <p:sldMasterId id="2147483732" r:id="rId8"/>
    <p:sldMasterId id="2147484036" r:id="rId9"/>
    <p:sldMasterId id="2147483742" r:id="rId10"/>
    <p:sldMasterId id="2147483824" r:id="rId11"/>
    <p:sldMasterId id="2147483984" r:id="rId12"/>
    <p:sldMasterId id="2147483859" r:id="rId13"/>
    <p:sldMasterId id="2147483929" r:id="rId14"/>
    <p:sldMasterId id="2147483783" r:id="rId15"/>
  </p:sldMasterIdLst>
  <p:notesMasterIdLst>
    <p:notesMasterId r:id="rId40"/>
  </p:notesMasterIdLst>
  <p:handoutMasterIdLst>
    <p:handoutMasterId r:id="rId41"/>
  </p:handoutMasterIdLst>
  <p:sldIdLst>
    <p:sldId id="727" r:id="rId16"/>
    <p:sldId id="11481" r:id="rId17"/>
    <p:sldId id="11483" r:id="rId18"/>
    <p:sldId id="11476" r:id="rId19"/>
    <p:sldId id="11477" r:id="rId20"/>
    <p:sldId id="11479" r:id="rId21"/>
    <p:sldId id="11478" r:id="rId22"/>
    <p:sldId id="751" r:id="rId23"/>
    <p:sldId id="870" r:id="rId24"/>
    <p:sldId id="868" r:id="rId25"/>
    <p:sldId id="925" r:id="rId26"/>
    <p:sldId id="927" r:id="rId27"/>
    <p:sldId id="843" r:id="rId28"/>
    <p:sldId id="847" r:id="rId29"/>
    <p:sldId id="849" r:id="rId30"/>
    <p:sldId id="845" r:id="rId31"/>
    <p:sldId id="851" r:id="rId32"/>
    <p:sldId id="852" r:id="rId33"/>
    <p:sldId id="885" r:id="rId34"/>
    <p:sldId id="853" r:id="rId35"/>
    <p:sldId id="887" r:id="rId36"/>
    <p:sldId id="842" r:id="rId37"/>
    <p:sldId id="856" r:id="rId38"/>
    <p:sldId id="907" r:id="rId3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OC &amp; FDOC Checklist" id="{5C75EF3B-86B8-6647-A64C-81E4B07450B2}">
          <p14:sldIdLst>
            <p14:sldId id="727"/>
          </p14:sldIdLst>
        </p14:section>
        <p14:section name="GO Student Registration" id="{FD70DC82-E07A-E848-B1EE-D71160EB8586}">
          <p14:sldIdLst>
            <p14:sldId id="11481"/>
            <p14:sldId id="11483"/>
            <p14:sldId id="11476"/>
            <p14:sldId id="11477"/>
            <p14:sldId id="11479"/>
            <p14:sldId id="11478"/>
          </p14:sldIdLst>
        </p14:section>
        <p14:section name="GO and Sharpen Companion FDOC" id="{3FF79D4C-1A44-495D-A98F-65822680579F}">
          <p14:sldIdLst>
            <p14:sldId id="751"/>
            <p14:sldId id="870"/>
            <p14:sldId id="868"/>
            <p14:sldId id="925"/>
            <p14:sldId id="927"/>
          </p14:sldIdLst>
        </p14:section>
        <p14:section name="Sharpen Companion: GO Non-IA with an LMS" id="{87625E43-C14A-4D4E-8E2A-C170726C0675}">
          <p14:sldIdLst>
            <p14:sldId id="843"/>
            <p14:sldId id="847"/>
            <p14:sldId id="849"/>
            <p14:sldId id="845"/>
            <p14:sldId id="851"/>
            <p14:sldId id="852"/>
            <p14:sldId id="885"/>
            <p14:sldId id="853"/>
            <p14:sldId id="887"/>
          </p14:sldIdLst>
        </p14:section>
        <p14:section name="Sharpen Companion: GO Log-In with LMS" id="{E075AC97-203A-436E-8FC3-C8C7FC5C0DB1}">
          <p14:sldIdLst>
            <p14:sldId id="842"/>
            <p14:sldId id="856"/>
            <p14:sldId id="90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BD84612-01DC-28C1-4AA5-EDB50D6A630E}" name="Henig, Sarit" initials="HS" userId="S::sarit.henig@mheducation.com::ad83c6bf-9a7d-4a88-b545-e6e8836bd6ee" providerId="AD"/>
  <p188:author id="{C1D3EC44-2A49-0274-D086-8618EBEE3CBE}" name="Aller, Natalie" initials="" userId="S::Natalie.Aller@mheducation.com::92aaa3dc-9298-450d-b5b0-88d600ea217d" providerId="AD"/>
  <p188:author id="{1615368D-5146-B2EC-766E-281DF745382A}" name="Mcmanus, Cathy" initials="MC" userId="S::cathy.mcmanus@mheducation.com::f6f2004f-42b0-4d49-b784-7d0ab1b5edee" providerId="AD"/>
  <p188:author id="{A73DA2DF-F3D0-C5CA-884D-19E61C0D3FFA}" name="Smitherman, Erin" initials="SE" userId="S::erin.smitherman@mheducation.com::6a5b2dc9-4c06-4251-b6ef-d4dc50cd37d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08"/>
    <p:restoredTop sz="94631"/>
  </p:normalViewPr>
  <p:slideViewPr>
    <p:cSldViewPr snapToGrid="0">
      <p:cViewPr varScale="1">
        <p:scale>
          <a:sx n="97" d="100"/>
          <a:sy n="97" d="100"/>
        </p:scale>
        <p:origin x="728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3.xml"/><Relationship Id="rId26" Type="http://schemas.openxmlformats.org/officeDocument/2006/relationships/slide" Target="slides/slide11.xml"/><Relationship Id="rId39" Type="http://schemas.openxmlformats.org/officeDocument/2006/relationships/slide" Target="slides/slide24.xml"/><Relationship Id="rId21" Type="http://schemas.openxmlformats.org/officeDocument/2006/relationships/slide" Target="slides/slide6.xml"/><Relationship Id="rId34" Type="http://schemas.openxmlformats.org/officeDocument/2006/relationships/slide" Target="slides/slide19.xml"/><Relationship Id="rId42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1.xml"/><Relationship Id="rId29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9.xml"/><Relationship Id="rId32" Type="http://schemas.openxmlformats.org/officeDocument/2006/relationships/slide" Target="slides/slide17.xml"/><Relationship Id="rId37" Type="http://schemas.openxmlformats.org/officeDocument/2006/relationships/slide" Target="slides/slide22.xml"/><Relationship Id="rId40" Type="http://schemas.openxmlformats.org/officeDocument/2006/relationships/notesMaster" Target="notesMasters/notesMaster1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8.xml"/><Relationship Id="rId28" Type="http://schemas.openxmlformats.org/officeDocument/2006/relationships/slide" Target="slides/slide13.xml"/><Relationship Id="rId36" Type="http://schemas.openxmlformats.org/officeDocument/2006/relationships/slide" Target="slides/slide2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4.xml"/><Relationship Id="rId31" Type="http://schemas.openxmlformats.org/officeDocument/2006/relationships/slide" Target="slides/slide16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7.xml"/><Relationship Id="rId27" Type="http://schemas.openxmlformats.org/officeDocument/2006/relationships/slide" Target="slides/slide12.xml"/><Relationship Id="rId30" Type="http://schemas.openxmlformats.org/officeDocument/2006/relationships/slide" Target="slides/slide15.xml"/><Relationship Id="rId35" Type="http://schemas.openxmlformats.org/officeDocument/2006/relationships/slide" Target="slides/slide20.xml"/><Relationship Id="rId43" Type="http://schemas.openxmlformats.org/officeDocument/2006/relationships/viewProps" Target="viewProp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2.xml"/><Relationship Id="rId25" Type="http://schemas.openxmlformats.org/officeDocument/2006/relationships/slide" Target="slides/slide10.xml"/><Relationship Id="rId33" Type="http://schemas.openxmlformats.org/officeDocument/2006/relationships/slide" Target="slides/slide18.xml"/><Relationship Id="rId38" Type="http://schemas.openxmlformats.org/officeDocument/2006/relationships/slide" Target="slides/slide23.xml"/><Relationship Id="rId46" Type="http://schemas.microsoft.com/office/2018/10/relationships/authors" Target="authors.xml"/><Relationship Id="rId20" Type="http://schemas.openxmlformats.org/officeDocument/2006/relationships/slide" Target="slides/slide5.xml"/><Relationship Id="rId41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C8B9842-8E57-FA7B-7478-DA412A87942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95C62FE-88B7-0EC8-CDBC-5AF99272B48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088991-3BD6-5945-A53D-477BACF5905D}" type="datetimeFigureOut">
              <a:rPr lang="en-US" smtClean="0"/>
              <a:t>5/30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A025C13-6B8D-C011-C705-95ADF35F836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E8C2207-B0CB-1138-0457-10588AA5498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A42495-FACE-F749-8D87-3175C066BC5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90389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AD9B68-2129-E747-B5AF-0553D7866B9D}" type="datetimeFigureOut">
              <a:rPr lang="en-US" smtClean="0"/>
              <a:t>5/30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A9B8B0-6DDC-8945-BE88-15F72254A7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00465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03994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DD9DCB-21E0-F2A1-3064-A6BC6A6F65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28A3F36-5724-3F22-587C-5EA53294B98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186DDC2-DBB5-DBE0-EBD1-68DA835327B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24D3C5-510A-CBB0-344C-774396496F7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75404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712200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76F7AE-78BA-9DF7-C44F-AFC0E1C588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03E82EF-052F-792F-FF79-97376768C8D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65004A6-4BD9-EDB7-A861-3F40DB93BBC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BE5D7E-A6C7-547E-5857-49AF1AF1C43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980819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4C4003-357D-8A65-D21D-C0594DA5DC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25EFFBC-66EC-33EF-D097-7AD1B80EB2A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0F3FBAB-2BC2-97B6-968A-2EAE493AFD5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8BF706-4D50-83D9-8A04-3A601587BE7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08737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8BE7B7-3C10-5623-D4E6-A4AD11AAFA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035C966-A91B-3D92-9BBB-173BE0F891E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F982397-8CB2-6273-0D77-DD7FAC2BA5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1FE1340-C157-94C8-0D48-08E8BAF3B63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520845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31DA3C-C95B-C9C9-4372-6E722C72D9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EDD714F-8CBB-7BEF-59E2-F828D1368A8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1BC7461-A6B6-66F0-56CA-DB31DCF3223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7A8ABC2-DF54-2D33-4313-EA404F8F740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574456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9EA377-3F01-C0FA-A24D-EA8B77C1B2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EA77585-7366-49BD-0597-23B8F796B74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00A8312-5FED-E3D0-8DB2-6C995B7C285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7196C6-C976-09D8-BE93-4B6CEAC3D22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075753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00241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83C637-6336-C9BE-8D8F-20FE6A6527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21D7294-89AF-C18A-CE09-8FCE6FFE3FE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3D5C11C-598D-0D53-815C-40B5E0338FF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5E552A-146B-9243-5857-8CEB7088A85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924979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030B3F-47A7-A4B4-6798-E8E684C977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F657AB0-15C9-DDE4-4F12-AF105985BE7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58968B3-03A6-6124-A598-92F42B8CD8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0D08F89-59F5-010C-333E-560B164D584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33715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3B8A61-C950-702D-B478-2336B4A6A6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D7B35B5-5B80-F4A5-E155-CF57EFD8FDC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F491AF9-727F-5F95-7DEB-A1379723743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E8DF2F-3CA3-A3B5-DE38-771332DC99E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195623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7D3C1A-1DE1-2B78-D79A-848EA3C741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F36692B-7BDD-673B-7A77-B41BA02A49A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164B253-5749-0A65-2323-1A019FD943A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800"/>
              </a:lnSpc>
            </a:pPr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D7573C-B31E-1B8D-ECE0-34538C27680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022983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02AC0C-1B8B-F697-680A-C5781B2E9E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113FD99-5DA6-6BF6-254C-4B1A88BB09F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31E63C-B9A7-A061-FC88-DD3933BBB0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23A2C2-7808-FED1-2B02-9DF422B8AF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94755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87749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1F4AA9-FBAD-4349-DAE2-74DE39C58E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95DE03E-AA78-2089-2D72-4E37044914F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0657EDD-AAA5-16A4-C365-DA1D52687B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28CA6C-AA40-EA62-990A-C5F58A4A4BC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8319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D90F11-AC95-B7A2-2E34-BE03514B71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6A7DAC3-63BE-4B12-FF9C-FFAAB114FAD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4D5C23F-3B07-BF25-2B92-48EFD4F26F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1EFF6A-F2B8-DB33-A599-39F0183DD01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47609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1FCC78-37E2-F649-6A91-9DFDBA190E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B6F469E-FAF4-34DD-4A94-FA70E1CBC60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AB1DF8A-C02C-457B-CC18-22158371DE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4EC5F6-F19D-CC72-6B16-A5E9B16121E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48192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4A3F2E-80DF-86EE-4984-F847BDD56F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488573B-B09E-E67E-19B1-176B59B51A7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9F96004-C74D-DF6C-4D02-8919A600543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70D4D9-F234-9AA0-E437-E47CDCBD180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31107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C7C658-A5C1-FE5E-594D-ABEBB90443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B31A124-2349-67C9-279B-51F8F2C236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71620C5-575E-A89D-335F-663083F503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0084B0-B107-07FA-18ED-6272844AE31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43728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746B0C-FA63-953B-2157-9784D38A5D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C451469-5B93-473F-7F84-72F1F3086EA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43E227B-C2EB-8DE1-433B-AECE978FA63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E07499-0D47-B2AB-086C-66EE0F559BE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48018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9.sv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1.svg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3.svg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9.sv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1.sv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3.svg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3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5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9.svg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1.svg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3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EDF070E-4902-2446-B5CB-C543792B30F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98F4E8AE-83DE-3E46-8112-47F77FF98D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498906"/>
            <a:ext cx="11897228" cy="5155113"/>
            <a:chOff x="0" y="498906"/>
            <a:chExt cx="11897228" cy="5155113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DD5D82C0-6CAF-574D-B118-855822081320}"/>
                </a:ext>
              </a:extLst>
            </p:cNvPr>
            <p:cNvSpPr/>
            <p:nvPr userDrawn="1"/>
          </p:nvSpPr>
          <p:spPr>
            <a:xfrm rot="18900000">
              <a:off x="10849492" y="884438"/>
              <a:ext cx="958143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C9EDF456-8163-F143-AF4A-903B97CE9BC9}"/>
                </a:ext>
              </a:extLst>
            </p:cNvPr>
            <p:cNvSpPr/>
            <p:nvPr userDrawn="1"/>
          </p:nvSpPr>
          <p:spPr>
            <a:xfrm rot="18900000">
              <a:off x="10890847" y="984019"/>
              <a:ext cx="1006381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82336C6D-E628-0041-857C-9322A2451661}"/>
                </a:ext>
              </a:extLst>
            </p:cNvPr>
            <p:cNvGrpSpPr/>
            <p:nvPr userDrawn="1"/>
          </p:nvGrpSpPr>
          <p:grpSpPr>
            <a:xfrm>
              <a:off x="10905053" y="498906"/>
              <a:ext cx="929262" cy="929262"/>
              <a:chOff x="3969603" y="2167014"/>
              <a:chExt cx="929262" cy="929262"/>
            </a:xfrm>
            <a:solidFill>
              <a:srgbClr val="E3B9FC"/>
            </a:solidFill>
          </p:grpSpPr>
          <p:sp>
            <p:nvSpPr>
              <p:cNvPr id="53" name="Parallelogram 52">
                <a:extLst>
                  <a:ext uri="{FF2B5EF4-FFF2-40B4-BE49-F238E27FC236}">
                    <a16:creationId xmlns:a16="http://schemas.microsoft.com/office/drawing/2014/main" id="{DCC0BD75-E04F-104D-9C21-744FA4C6EF68}"/>
                  </a:ext>
                </a:extLst>
              </p:cNvPr>
              <p:cNvSpPr/>
              <p:nvPr userDrawn="1"/>
            </p:nvSpPr>
            <p:spPr>
              <a:xfrm>
                <a:off x="3969603" y="2168473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4" name="Parallelogram 53">
                <a:extLst>
                  <a:ext uri="{FF2B5EF4-FFF2-40B4-BE49-F238E27FC236}">
                    <a16:creationId xmlns:a16="http://schemas.microsoft.com/office/drawing/2014/main" id="{BFEE5699-8431-704F-A655-FD491E2D8B60}"/>
                  </a:ext>
                </a:extLst>
              </p:cNvPr>
              <p:cNvSpPr/>
              <p:nvPr userDrawn="1"/>
            </p:nvSpPr>
            <p:spPr>
              <a:xfrm rot="5400000" flipH="1">
                <a:off x="4321438" y="2518849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648EC5FD-D283-3B4D-A3B4-908D0BC14F43}"/>
                </a:ext>
              </a:extLst>
            </p:cNvPr>
            <p:cNvGrpSpPr/>
            <p:nvPr userDrawn="1"/>
          </p:nvGrpSpPr>
          <p:grpSpPr>
            <a:xfrm>
              <a:off x="10902086" y="612832"/>
              <a:ext cx="823347" cy="822021"/>
              <a:chOff x="3966636" y="2277354"/>
              <a:chExt cx="823347" cy="822021"/>
            </a:xfrm>
            <a:solidFill>
              <a:srgbClr val="06235B"/>
            </a:solidFill>
          </p:grpSpPr>
          <p:sp>
            <p:nvSpPr>
              <p:cNvPr id="51" name="Parallelogram 61">
                <a:extLst>
                  <a:ext uri="{FF2B5EF4-FFF2-40B4-BE49-F238E27FC236}">
                    <a16:creationId xmlns:a16="http://schemas.microsoft.com/office/drawing/2014/main" id="{AD9D228C-7638-1141-83AF-BA7FF2D55EAE}"/>
                  </a:ext>
                </a:extLst>
              </p:cNvPr>
              <p:cNvSpPr/>
              <p:nvPr userDrawn="1"/>
            </p:nvSpPr>
            <p:spPr>
              <a:xfrm>
                <a:off x="3966636" y="2277354"/>
                <a:ext cx="821312" cy="119886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19886">
                    <a:moveTo>
                      <a:pt x="0" y="119886"/>
                    </a:moveTo>
                    <a:lnTo>
                      <a:pt x="112441" y="3175"/>
                    </a:lnTo>
                    <a:lnTo>
                      <a:pt x="821312" y="0"/>
                    </a:lnTo>
                    <a:lnTo>
                      <a:pt x="708871" y="116711"/>
                    </a:lnTo>
                    <a:lnTo>
                      <a:pt x="0" y="11988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Parallelogram 61">
                <a:extLst>
                  <a:ext uri="{FF2B5EF4-FFF2-40B4-BE49-F238E27FC236}">
                    <a16:creationId xmlns:a16="http://schemas.microsoft.com/office/drawing/2014/main" id="{CEF32391-A87F-C646-AB2F-1C912C7ABA50}"/>
                  </a:ext>
                </a:extLst>
              </p:cNvPr>
              <p:cNvSpPr/>
              <p:nvPr userDrawn="1"/>
            </p:nvSpPr>
            <p:spPr>
              <a:xfrm rot="16200000" flipH="1">
                <a:off x="4317797" y="2627188"/>
                <a:ext cx="821312" cy="123061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8791 w 821312"/>
                  <a:gd name="connsiteY1" fmla="*/ 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23061 h 123061"/>
                  <a:gd name="connsiteX1" fmla="*/ 64816 w 821312"/>
                  <a:gd name="connsiteY1" fmla="*/ 0 h 123061"/>
                  <a:gd name="connsiteX2" fmla="*/ 821312 w 821312"/>
                  <a:gd name="connsiteY2" fmla="*/ 3175 h 123061"/>
                  <a:gd name="connsiteX3" fmla="*/ 708871 w 821312"/>
                  <a:gd name="connsiteY3" fmla="*/ 119886 h 123061"/>
                  <a:gd name="connsiteX4" fmla="*/ 0 w 821312"/>
                  <a:gd name="connsiteY4" fmla="*/ 123061 h 12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23061">
                    <a:moveTo>
                      <a:pt x="0" y="123061"/>
                    </a:moveTo>
                    <a:lnTo>
                      <a:pt x="64816" y="0"/>
                    </a:lnTo>
                    <a:lnTo>
                      <a:pt x="821312" y="3175"/>
                    </a:lnTo>
                    <a:lnTo>
                      <a:pt x="708871" y="119886"/>
                    </a:lnTo>
                    <a:lnTo>
                      <a:pt x="0" y="12306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77736CA0-AFFD-DB4F-8C22-2F4A88CE95D4}"/>
                </a:ext>
              </a:extLst>
            </p:cNvPr>
            <p:cNvSpPr/>
            <p:nvPr userDrawn="1"/>
          </p:nvSpPr>
          <p:spPr>
            <a:xfrm>
              <a:off x="9552721" y="1203981"/>
              <a:ext cx="1482643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81F8AE9E-4B8A-9E48-8669-C9853A249D82}"/>
                </a:ext>
              </a:extLst>
            </p:cNvPr>
            <p:cNvSpPr/>
            <p:nvPr userDrawn="1"/>
          </p:nvSpPr>
          <p:spPr>
            <a:xfrm>
              <a:off x="9618398" y="1320692"/>
              <a:ext cx="1460280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A43DF850-F8DA-9A4F-A9A4-0D9AAD65685F}"/>
                </a:ext>
              </a:extLst>
            </p:cNvPr>
            <p:cNvSpPr/>
            <p:nvPr userDrawn="1"/>
          </p:nvSpPr>
          <p:spPr>
            <a:xfrm rot="16200000">
              <a:off x="7335022" y="3370643"/>
              <a:ext cx="4450040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DB35AD5C-8478-8E4E-98D3-32BC46C27148}"/>
                </a:ext>
              </a:extLst>
            </p:cNvPr>
            <p:cNvSpPr/>
            <p:nvPr userDrawn="1"/>
          </p:nvSpPr>
          <p:spPr>
            <a:xfrm rot="16200000">
              <a:off x="7510091" y="3428998"/>
              <a:ext cx="4333326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C5E48F8A-E28A-FB4B-B7D2-9FB364C19165}"/>
                </a:ext>
              </a:extLst>
            </p:cNvPr>
            <p:cNvSpPr/>
            <p:nvPr userDrawn="1"/>
          </p:nvSpPr>
          <p:spPr>
            <a:xfrm>
              <a:off x="0" y="5420595"/>
              <a:ext cx="9572617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63ECE769-2F0D-354F-8005-B0E084BFBE6D}"/>
                </a:ext>
              </a:extLst>
            </p:cNvPr>
            <p:cNvSpPr/>
            <p:nvPr userDrawn="1"/>
          </p:nvSpPr>
          <p:spPr>
            <a:xfrm>
              <a:off x="0" y="5537306"/>
              <a:ext cx="966417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ABADAE6B-754B-4148-902D-7F291DD0F7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rgbClr val="E21A23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7EC5B62-5641-E247-A8B8-460001BE78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rgbClr val="E21A23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2">
            <a:extLst>
              <a:ext uri="{FF2B5EF4-FFF2-40B4-BE49-F238E27FC236}">
                <a16:creationId xmlns:a16="http://schemas.microsoft.com/office/drawing/2014/main" id="{67A20382-9199-2847-97B8-8288D88FD1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64" name="Subtitle">
            <a:extLst>
              <a:ext uri="{FF2B5EF4-FFF2-40B4-BE49-F238E27FC236}">
                <a16:creationId xmlns:a16="http://schemas.microsoft.com/office/drawing/2014/main" id="{390AD8CB-CC7E-984F-9F6D-99A3A55A0A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pic>
        <p:nvPicPr>
          <p:cNvPr id="45" name="Picture 44" descr="McGraw Hill cube Logo">
            <a:extLst>
              <a:ext uri="{FF2B5EF4-FFF2-40B4-BE49-F238E27FC236}">
                <a16:creationId xmlns:a16="http://schemas.microsoft.com/office/drawing/2014/main" id="{69BF1FB9-C8BA-C141-BB8B-638E1DEEC6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  <p:sp>
        <p:nvSpPr>
          <p:cNvPr id="65" name="Name &amp; Surname">
            <a:extLst>
              <a:ext uri="{FF2B5EF4-FFF2-40B4-BE49-F238E27FC236}">
                <a16:creationId xmlns:a16="http://schemas.microsoft.com/office/drawing/2014/main" id="{434E83B2-513B-D840-ACC2-97CDC476F0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66" name="Numeral Date">
            <a:extLst>
              <a:ext uri="{FF2B5EF4-FFF2-40B4-BE49-F238E27FC236}">
                <a16:creationId xmlns:a16="http://schemas.microsoft.com/office/drawing/2014/main" id="{FC4E2726-14C8-B14D-9721-7807227392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010DFA6-01F6-0757-3388-4125680AE6B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6354319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Full Bleed Image_VIOLET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Four young people collaborate around a table. They use a laptop, textbook, smartphone, and sticky notes. Each has a relaxed, but intent, expression.&#10;">
            <a:extLst>
              <a:ext uri="{FF2B5EF4-FFF2-40B4-BE49-F238E27FC236}">
                <a16:creationId xmlns:a16="http://schemas.microsoft.com/office/drawing/2014/main" id="{7FC1136F-CA1A-304F-BD87-6F5AD28DF6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0053" y="0"/>
            <a:ext cx="12232106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1327E40-7AE9-D645-B4A9-1806BB82E5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isplay Date">
            <a:extLst>
              <a:ext uri="{FF2B5EF4-FFF2-40B4-BE49-F238E27FC236}">
                <a16:creationId xmlns:a16="http://schemas.microsoft.com/office/drawing/2014/main" id="{AF19FE6E-ABD4-0641-9E4F-ECE7E253AD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0" name="Name &amp; Surname">
            <a:extLst>
              <a:ext uri="{FF2B5EF4-FFF2-40B4-BE49-F238E27FC236}">
                <a16:creationId xmlns:a16="http://schemas.microsoft.com/office/drawing/2014/main" id="{7526AB89-E183-9647-B0C6-8DBEA8E2B6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A35E7039-7E5C-EA46-8A76-6BF0BD49C6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EE8D7D83-3733-6544-9A18-692EAF0556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1" name="Picture 10" descr="McGraw Hill red cube logo ">
            <a:extLst>
              <a:ext uri="{FF2B5EF4-FFF2-40B4-BE49-F238E27FC236}">
                <a16:creationId xmlns:a16="http://schemas.microsoft.com/office/drawing/2014/main" id="{2133F0EF-B82D-AB41-BC98-F67769B6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60018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36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46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Grid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D61460E-E17D-E260-CE2B-C6B62410A5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50080" y="493653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73551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Grid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F1087D9-F0F6-C895-0299-18BA5AE4D2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1193" y="1366153"/>
            <a:ext cx="2133800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44D98E4F-19CC-A1A6-7663-3089531D65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50080" y="493653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07D3B733-CC4C-192E-4072-6E2332F22C9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50229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Grid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800097F-793A-A8DD-23CD-E85E56C9DF1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5497173D-CC38-B96D-A0F3-8EDEA9494E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50080" y="493653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2F925196-A322-2E1A-3E6F-45D39B5C3BB3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8188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Stats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D61460E-E17D-E260-CE2B-C6B62410A5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3812636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</a:t>
            </a:r>
            <a:r>
              <a:rPr lang="en-US"/>
              <a:t>”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07614" y="4880620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Stat 1">
            <a:extLst>
              <a:ext uri="{FF2B5EF4-FFF2-40B4-BE49-F238E27FC236}">
                <a16:creationId xmlns:a16="http://schemas.microsoft.com/office/drawing/2014/main" id="{1B0A1B99-7DB4-1A20-DAE7-5BE0B597CA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56706" y="1862334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9" name="Stat 1 Caption">
            <a:extLst>
              <a:ext uri="{FF2B5EF4-FFF2-40B4-BE49-F238E27FC236}">
                <a16:creationId xmlns:a16="http://schemas.microsoft.com/office/drawing/2014/main" id="{CE29B0C1-3A73-1BA6-E7F5-AD32949F2F9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56706" y="2732927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0" name="Stat 1 Copy">
            <a:extLst>
              <a:ext uri="{FF2B5EF4-FFF2-40B4-BE49-F238E27FC236}">
                <a16:creationId xmlns:a16="http://schemas.microsoft.com/office/drawing/2014/main" id="{EE778FA4-D7DE-979F-EE1C-DA43999DF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70896" y="3174861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2" name="Stat 2">
            <a:extLst>
              <a:ext uri="{FF2B5EF4-FFF2-40B4-BE49-F238E27FC236}">
                <a16:creationId xmlns:a16="http://schemas.microsoft.com/office/drawing/2014/main" id="{77D3325E-E610-51E4-1007-242A109C0D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04004" y="4183073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5" name="Stat 2 Caption">
            <a:extLst>
              <a:ext uri="{FF2B5EF4-FFF2-40B4-BE49-F238E27FC236}">
                <a16:creationId xmlns:a16="http://schemas.microsoft.com/office/drawing/2014/main" id="{4A9FA890-5152-F322-6283-64C8332438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04004" y="5053666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6" name="Stat 2 Copy">
            <a:extLst>
              <a:ext uri="{FF2B5EF4-FFF2-40B4-BE49-F238E27FC236}">
                <a16:creationId xmlns:a16="http://schemas.microsoft.com/office/drawing/2014/main" id="{4D93E06C-C178-D1E9-836B-E412E5F033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5495600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53110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Stats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2F88899-822A-2BAC-C0BB-931CD16C32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0161" y="1366153"/>
            <a:ext cx="2133800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3812636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</a:t>
            </a:r>
            <a:r>
              <a:rPr lang="en-US"/>
              <a:t>”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07614" y="4880620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Stat 1">
            <a:extLst>
              <a:ext uri="{FF2B5EF4-FFF2-40B4-BE49-F238E27FC236}">
                <a16:creationId xmlns:a16="http://schemas.microsoft.com/office/drawing/2014/main" id="{1B0A1B99-7DB4-1A20-DAE7-5BE0B597CA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56706" y="1862334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9" name="Stat 1 Caption">
            <a:extLst>
              <a:ext uri="{FF2B5EF4-FFF2-40B4-BE49-F238E27FC236}">
                <a16:creationId xmlns:a16="http://schemas.microsoft.com/office/drawing/2014/main" id="{CE29B0C1-3A73-1BA6-E7F5-AD32949F2F9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56706" y="2732927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0" name="Stat 1 Copy">
            <a:extLst>
              <a:ext uri="{FF2B5EF4-FFF2-40B4-BE49-F238E27FC236}">
                <a16:creationId xmlns:a16="http://schemas.microsoft.com/office/drawing/2014/main" id="{EE778FA4-D7DE-979F-EE1C-DA43999DF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70896" y="3174861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2" name="Stat 2">
            <a:extLst>
              <a:ext uri="{FF2B5EF4-FFF2-40B4-BE49-F238E27FC236}">
                <a16:creationId xmlns:a16="http://schemas.microsoft.com/office/drawing/2014/main" id="{77D3325E-E610-51E4-1007-242A109C0D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04004" y="4183073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5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5" name="Stat 2 Caption">
            <a:extLst>
              <a:ext uri="{FF2B5EF4-FFF2-40B4-BE49-F238E27FC236}">
                <a16:creationId xmlns:a16="http://schemas.microsoft.com/office/drawing/2014/main" id="{4A9FA890-5152-F322-6283-64C8332438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04004" y="5053666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6" name="Stat 2 Copy">
            <a:extLst>
              <a:ext uri="{FF2B5EF4-FFF2-40B4-BE49-F238E27FC236}">
                <a16:creationId xmlns:a16="http://schemas.microsoft.com/office/drawing/2014/main" id="{4D93E06C-C178-D1E9-836B-E412E5F033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5495600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46697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Stats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948AF60-D99C-18A5-0A22-0D341CF07A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3812636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</a:t>
            </a:r>
            <a:r>
              <a:rPr lang="en-US"/>
              <a:t>”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07614" y="4880620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Stat 1">
            <a:extLst>
              <a:ext uri="{FF2B5EF4-FFF2-40B4-BE49-F238E27FC236}">
                <a16:creationId xmlns:a16="http://schemas.microsoft.com/office/drawing/2014/main" id="{1B0A1B99-7DB4-1A20-DAE7-5BE0B597CA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56706" y="1862334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9" name="Stat 1 Caption">
            <a:extLst>
              <a:ext uri="{FF2B5EF4-FFF2-40B4-BE49-F238E27FC236}">
                <a16:creationId xmlns:a16="http://schemas.microsoft.com/office/drawing/2014/main" id="{CE29B0C1-3A73-1BA6-E7F5-AD32949F2F9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56706" y="2732927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0" name="Stat 1 Copy">
            <a:extLst>
              <a:ext uri="{FF2B5EF4-FFF2-40B4-BE49-F238E27FC236}">
                <a16:creationId xmlns:a16="http://schemas.microsoft.com/office/drawing/2014/main" id="{EE778FA4-D7DE-979F-EE1C-DA43999DF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70896" y="3174861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2" name="Stat 2">
            <a:extLst>
              <a:ext uri="{FF2B5EF4-FFF2-40B4-BE49-F238E27FC236}">
                <a16:creationId xmlns:a16="http://schemas.microsoft.com/office/drawing/2014/main" id="{77D3325E-E610-51E4-1007-242A109C0D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04004" y="4183073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5" name="Stat 2 Caption">
            <a:extLst>
              <a:ext uri="{FF2B5EF4-FFF2-40B4-BE49-F238E27FC236}">
                <a16:creationId xmlns:a16="http://schemas.microsoft.com/office/drawing/2014/main" id="{4A9FA890-5152-F322-6283-64C8332438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04004" y="5053666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6" name="Stat 2 Copy">
            <a:extLst>
              <a:ext uri="{FF2B5EF4-FFF2-40B4-BE49-F238E27FC236}">
                <a16:creationId xmlns:a16="http://schemas.microsoft.com/office/drawing/2014/main" id="{4D93E06C-C178-D1E9-836B-E412E5F033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5495600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144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Individual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A96E7CA0-8C3C-3EBD-6ED3-9BB769E80B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" name="Body Text">
            <a:extLst>
              <a:ext uri="{FF2B5EF4-FFF2-40B4-BE49-F238E27FC236}">
                <a16:creationId xmlns:a16="http://schemas.microsoft.com/office/drawing/2014/main" id="{F788FE61-2449-64AF-DCE2-15E103FAA20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57047" y="268985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0"/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6" name="Body Text">
            <a:extLst>
              <a:ext uri="{FF2B5EF4-FFF2-40B4-BE49-F238E27FC236}">
                <a16:creationId xmlns:a16="http://schemas.microsoft.com/office/drawing/2014/main" id="{43578A47-72BE-6C4B-C324-1DA3363963F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57047" y="3172844"/>
            <a:ext cx="5307918" cy="8276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/>
            </a:lvl1pPr>
          </a:lstStyle>
          <a:p>
            <a:pPr lvl="0"/>
            <a:r>
              <a:rPr lang="en-US"/>
              <a:t>(Description of responsibilities)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72137697-89EC-9F1C-0D19-51DF4306ED77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BF8800D-1DE3-3FD3-069C-4F3BA01D21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047" y="2094403"/>
            <a:ext cx="5422996" cy="74823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23661233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Individual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8DFB25E2-62AC-989D-869E-A1139CC820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rgbClr val="092467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A210F576-544A-CEAC-3E61-8A8D67FDB6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57047" y="268985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0"/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Body Text">
            <a:extLst>
              <a:ext uri="{FF2B5EF4-FFF2-40B4-BE49-F238E27FC236}">
                <a16:creationId xmlns:a16="http://schemas.microsoft.com/office/drawing/2014/main" id="{1DA6AA1F-7BBE-D1AD-AD1F-C4AFC62C941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57047" y="3172844"/>
            <a:ext cx="5307918" cy="8276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/>
            </a:lvl1pPr>
          </a:lstStyle>
          <a:p>
            <a:pPr lvl="0"/>
            <a:r>
              <a:rPr lang="en-US"/>
              <a:t>(Description of responsibilities)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1E4CAEF0-50E4-ADAC-E4A7-03D572F8956D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29C2F1D-5554-DDC9-02AE-906934B59A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047" y="2094403"/>
            <a:ext cx="5422996" cy="74823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40850430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Individual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BFF64230-07C6-7B2F-A4C6-3382A20E66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8BA3C0C5-F112-F484-ECD8-531C8D339AA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57047" y="268985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0"/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Body Text">
            <a:extLst>
              <a:ext uri="{FF2B5EF4-FFF2-40B4-BE49-F238E27FC236}">
                <a16:creationId xmlns:a16="http://schemas.microsoft.com/office/drawing/2014/main" id="{DAE621AD-BA72-B1A5-3402-74C1B2E4DDB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57047" y="3172844"/>
            <a:ext cx="5307918" cy="8276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/>
            </a:lvl1pPr>
          </a:lstStyle>
          <a:p>
            <a:pPr lvl="0"/>
            <a:r>
              <a:rPr lang="en-US"/>
              <a:t>(Description of responsibilities)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33CDB57F-9CE5-5F88-4534-111CCA92285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CD6DDB3-128C-CADE-AE3E-921A19D835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047" y="2094403"/>
            <a:ext cx="5422996" cy="74823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3875740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Team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D61460E-E17D-E260-CE2B-C6B62410A5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424A5EE1-F1FD-B460-8956-BCE847515B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2789" y="1912448"/>
            <a:ext cx="5422996" cy="7482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45B31E94-5DB4-9A14-F934-E25215461A5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8245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B26C7E3B-6F5C-CDE9-061A-297F5473CA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7140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DA3A8863-2B69-0D33-13BA-80ACAFA112A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251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86B534F4-22A8-5E4C-F4FE-C95F8A9253C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633490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7" name="Body Text">
            <a:extLst>
              <a:ext uri="{FF2B5EF4-FFF2-40B4-BE49-F238E27FC236}">
                <a16:creationId xmlns:a16="http://schemas.microsoft.com/office/drawing/2014/main" id="{6E297E9E-72E3-45CD-2CE0-8FCA6B335AD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3238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B65CF966-233B-A64C-3964-34087DD3CDA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3349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7D57079D-6FBC-F402-1F73-376DBC7B0272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611038" y="2691290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9" name="Body Text">
            <a:extLst>
              <a:ext uri="{FF2B5EF4-FFF2-40B4-BE49-F238E27FC236}">
                <a16:creationId xmlns:a16="http://schemas.microsoft.com/office/drawing/2014/main" id="{BFCC252E-79D1-9413-CBF9-D4A68D0C6DE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24194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0" name="Body Text">
            <a:extLst>
              <a:ext uri="{FF2B5EF4-FFF2-40B4-BE49-F238E27FC236}">
                <a16:creationId xmlns:a16="http://schemas.microsoft.com/office/drawing/2014/main" id="{74C85F6F-4418-EB83-5AD2-7D1A5B7EE65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25302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00BA9D89-5898-926B-F580-BA00D0C4B1B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88586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449D3811-7FC3-FCBB-3726-4DC59A57734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1800" y="4565616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3" name="Body Text">
            <a:extLst>
              <a:ext uri="{FF2B5EF4-FFF2-40B4-BE49-F238E27FC236}">
                <a16:creationId xmlns:a16="http://schemas.microsoft.com/office/drawing/2014/main" id="{C28A47CA-3763-85C4-C933-D2F62FFB20A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92908" y="5048606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9762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DA1175B-4997-AD46-A66F-AD54249B30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E7ED1B1-2133-504B-8BC5-FCD9399E99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isplay Date">
            <a:extLst>
              <a:ext uri="{FF2B5EF4-FFF2-40B4-BE49-F238E27FC236}">
                <a16:creationId xmlns:a16="http://schemas.microsoft.com/office/drawing/2014/main" id="{54440BB0-874B-1C48-9D14-D93811C53E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1" name="Name &amp; Surname">
            <a:extLst>
              <a:ext uri="{FF2B5EF4-FFF2-40B4-BE49-F238E27FC236}">
                <a16:creationId xmlns:a16="http://schemas.microsoft.com/office/drawing/2014/main" id="{D33C7042-0669-6148-9FAC-1EA8D47DBC3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59F5F042-B335-3A4E-8342-1F0AFC60A39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0002E01B-5919-1E48-8DB8-F4682B5973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9" name="Picture 8" descr="McGraw Hill cube Logo">
            <a:extLst>
              <a:ext uri="{FF2B5EF4-FFF2-40B4-BE49-F238E27FC236}">
                <a16:creationId xmlns:a16="http://schemas.microsoft.com/office/drawing/2014/main" id="{6239E6B2-39D4-6948-B6F9-CFE0B3566DA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72895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Team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F1087D9-F0F6-C895-0299-18BA5AE4D2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0161" y="1366153"/>
            <a:ext cx="2133800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44D98E4F-19CC-A1A6-7663-3089531D65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A4B347B6-3A82-3AC2-864B-EB512C2D8F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2789" y="1912448"/>
            <a:ext cx="5422996" cy="7482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C6611997-54C5-6B87-858A-DFE22A9ECB4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8245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EC5C3E68-D584-21B6-4B21-2A05B5C601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7140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7FD4EBC2-5816-21BE-479D-5F82B75024E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251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554748D3-698C-84EA-2EF1-78272F130904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633490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92667B3A-35FA-E008-FA32-0053746B30D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3238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7" name="Body Text">
            <a:extLst>
              <a:ext uri="{FF2B5EF4-FFF2-40B4-BE49-F238E27FC236}">
                <a16:creationId xmlns:a16="http://schemas.microsoft.com/office/drawing/2014/main" id="{4A054557-76B5-2371-D87B-C19391139E3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3349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A1E5A92C-CDFC-572F-7F61-E98329CD4A28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611038" y="2691290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7D21B69A-E35A-CBF5-C16D-8E3C2AA837A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24194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9" name="Body Text">
            <a:extLst>
              <a:ext uri="{FF2B5EF4-FFF2-40B4-BE49-F238E27FC236}">
                <a16:creationId xmlns:a16="http://schemas.microsoft.com/office/drawing/2014/main" id="{63D08A8D-E78B-1AA6-03A4-114E0B9C5EF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25302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7255E978-E783-9201-2D84-F6D7F963EDD7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88586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0" name="Body Text">
            <a:extLst>
              <a:ext uri="{FF2B5EF4-FFF2-40B4-BE49-F238E27FC236}">
                <a16:creationId xmlns:a16="http://schemas.microsoft.com/office/drawing/2014/main" id="{BCDED6F5-1D6A-02AC-F0DA-921B227BE20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1800" y="4565616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39F1054F-EFDC-6754-D8B8-C4715EAF71C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92908" y="5048606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07D3B733-CC4C-192E-4072-6E2332F22C9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76383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Team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800097F-793A-A8DD-23CD-E85E56C9DF1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5497173D-CC38-B96D-A0F3-8EDEA9494E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75831230-61E5-66E5-16D8-2064453203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2789" y="1912448"/>
            <a:ext cx="5422996" cy="7482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30C9D29D-E415-8E19-7A25-8C59E4AA4B5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8245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C5754ACC-708A-22BA-D48B-CC49B2007A2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7140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C0205775-38D4-FE35-EEA0-8C81EE93993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251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FFA15769-525D-2C04-B873-5FC6C886028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633490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A11F21FA-6969-7AAE-37BA-8F52DADE0B5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3238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7" name="Body Text">
            <a:extLst>
              <a:ext uri="{FF2B5EF4-FFF2-40B4-BE49-F238E27FC236}">
                <a16:creationId xmlns:a16="http://schemas.microsoft.com/office/drawing/2014/main" id="{B0ADFB59-55B1-71FD-A662-9E8571C0181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3349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F1BD6364-5BE9-4F02-B90E-2AD80283361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611038" y="2691290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6E9784CB-5420-4B46-2EB6-4875D69C461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24194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9" name="Body Text">
            <a:extLst>
              <a:ext uri="{FF2B5EF4-FFF2-40B4-BE49-F238E27FC236}">
                <a16:creationId xmlns:a16="http://schemas.microsoft.com/office/drawing/2014/main" id="{95F38C3F-77E9-47F1-309B-982253573D9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25302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2394D9DC-5A74-F59A-923F-9126E094CB1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88586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0" name="Body Text">
            <a:extLst>
              <a:ext uri="{FF2B5EF4-FFF2-40B4-BE49-F238E27FC236}">
                <a16:creationId xmlns:a16="http://schemas.microsoft.com/office/drawing/2014/main" id="{98C7A80D-3A82-7597-22B0-492161981A3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1800" y="4565616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6BC137E1-6F3A-6BF7-1FD5-B4B93BD05B4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92908" y="5048606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2F925196-A322-2E1A-3E6F-45D39B5C3BB3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1133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81A921E9-43B1-A64F-B9DA-CFC5BD8374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  <a:solidFill>
            <a:schemeClr val="bg1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C618A1B2-2685-2048-BFE2-B6555CC8C7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chemeClr val="accent1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705B96A-8D3B-C44A-9078-413E003332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3" name="Name">
            <a:extLst>
              <a:ext uri="{FF2B5EF4-FFF2-40B4-BE49-F238E27FC236}">
                <a16:creationId xmlns:a16="http://schemas.microsoft.com/office/drawing/2014/main" id="{0B1A537D-ED77-CF4A-8ABC-E57EA11545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18" name="Email">
            <a:extLst>
              <a:ext uri="{FF2B5EF4-FFF2-40B4-BE49-F238E27FC236}">
                <a16:creationId xmlns:a16="http://schemas.microsoft.com/office/drawing/2014/main" id="{2BDDAEAE-2FFA-BA41-B1DF-A5AA99976F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Phone">
            <a:extLst>
              <a:ext uri="{FF2B5EF4-FFF2-40B4-BE49-F238E27FC236}">
                <a16:creationId xmlns:a16="http://schemas.microsoft.com/office/drawing/2014/main" id="{C34696B5-18BC-0E40-B859-7FFE6DD074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Linkedin">
            <a:extLst>
              <a:ext uri="{FF2B5EF4-FFF2-40B4-BE49-F238E27FC236}">
                <a16:creationId xmlns:a16="http://schemas.microsoft.com/office/drawing/2014/main" id="{A68E2290-CD3F-A942-9166-4970768A3A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23" name="Website">
            <a:extLst>
              <a:ext uri="{FF2B5EF4-FFF2-40B4-BE49-F238E27FC236}">
                <a16:creationId xmlns:a16="http://schemas.microsoft.com/office/drawing/2014/main" id="{5CB2CB3A-1A4A-3E4A-B674-0CCEFE6028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9" name="Picture 18" descr="McGraw Hill Logo">
            <a:extLst>
              <a:ext uri="{FF2B5EF4-FFF2-40B4-BE49-F238E27FC236}">
                <a16:creationId xmlns:a16="http://schemas.microsoft.com/office/drawing/2014/main" id="{AC15184A-376C-3847-A9F0-FFA9008CF02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181" y="1452056"/>
            <a:ext cx="703182" cy="703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96656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E0D79D-6B62-1B4E-A21C-A07AA43102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pic>
        <p:nvPicPr>
          <p:cNvPr id="2" name="Picture 1" descr="McGraw Hill red cube Logo">
            <a:extLst>
              <a:ext uri="{FF2B5EF4-FFF2-40B4-BE49-F238E27FC236}">
                <a16:creationId xmlns:a16="http://schemas.microsoft.com/office/drawing/2014/main" id="{05BB067E-F917-E8BD-9D12-40D966FC8BD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987" y="1433834"/>
            <a:ext cx="701068" cy="70106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55242E1-DCE5-2EB8-B85C-B0537FD5A3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rgbClr val="E5E5E5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985509E-727A-DB39-85F7-3F93DAE3AC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7" name="Name">
            <a:extLst>
              <a:ext uri="{FF2B5EF4-FFF2-40B4-BE49-F238E27FC236}">
                <a16:creationId xmlns:a16="http://schemas.microsoft.com/office/drawing/2014/main" id="{B3932FF3-249E-EB90-D795-2F6A1349C64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8" name="Email">
            <a:extLst>
              <a:ext uri="{FF2B5EF4-FFF2-40B4-BE49-F238E27FC236}">
                <a16:creationId xmlns:a16="http://schemas.microsoft.com/office/drawing/2014/main" id="{BF70833C-2796-3AB6-9BDB-FA16B94E58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Phone">
            <a:extLst>
              <a:ext uri="{FF2B5EF4-FFF2-40B4-BE49-F238E27FC236}">
                <a16:creationId xmlns:a16="http://schemas.microsoft.com/office/drawing/2014/main" id="{BFF0DF67-2A6C-A225-F335-0B98168B1D2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Linkedin">
            <a:extLst>
              <a:ext uri="{FF2B5EF4-FFF2-40B4-BE49-F238E27FC236}">
                <a16:creationId xmlns:a16="http://schemas.microsoft.com/office/drawing/2014/main" id="{2D8D486A-9449-ED06-5819-BBBCDF3211D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17" name="Website">
            <a:extLst>
              <a:ext uri="{FF2B5EF4-FFF2-40B4-BE49-F238E27FC236}">
                <a16:creationId xmlns:a16="http://schemas.microsoft.com/office/drawing/2014/main" id="{4927CA2F-2EA3-213C-D292-F5B4AE6676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EC1E8E5-D8DC-FDDF-BD53-917C9FAF80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017" y="498906"/>
            <a:ext cx="12183602" cy="5878123"/>
            <a:chOff x="-1017" y="498906"/>
            <a:chExt cx="12183602" cy="5878123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765A5F66-5E25-B280-EB1F-6834BB89D6F8}"/>
                </a:ext>
              </a:extLst>
            </p:cNvPr>
            <p:cNvGrpSpPr/>
            <p:nvPr userDrawn="1"/>
          </p:nvGrpSpPr>
          <p:grpSpPr>
            <a:xfrm>
              <a:off x="-1017" y="1611038"/>
              <a:ext cx="12183602" cy="4765991"/>
              <a:chOff x="-1017" y="1611038"/>
              <a:chExt cx="12183602" cy="4765991"/>
            </a:xfrm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5BCAE2CE-F803-94F4-321E-48A104EF871E}"/>
                  </a:ext>
                </a:extLst>
              </p:cNvPr>
              <p:cNvSpPr/>
              <p:nvPr/>
            </p:nvSpPr>
            <p:spPr>
              <a:xfrm rot="16200000">
                <a:off x="8777293" y="3412639"/>
                <a:ext cx="156191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34880DFC-4EC1-8246-F7DC-1D4B2510253E}"/>
                  </a:ext>
                </a:extLst>
              </p:cNvPr>
              <p:cNvSpPr/>
              <p:nvPr userDrawn="1"/>
            </p:nvSpPr>
            <p:spPr>
              <a:xfrm rot="16200000">
                <a:off x="8952361" y="3354283"/>
                <a:ext cx="1445206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670E976F-0B73-8642-8D66-3192EE5E2971}"/>
                  </a:ext>
                </a:extLst>
              </p:cNvPr>
              <p:cNvSpPr/>
              <p:nvPr/>
            </p:nvSpPr>
            <p:spPr>
              <a:xfrm rot="18900000">
                <a:off x="9095325" y="1611038"/>
                <a:ext cx="301327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EB55618A-0F56-ABC2-6022-E7A09006C2A0}"/>
                  </a:ext>
                </a:extLst>
              </p:cNvPr>
              <p:cNvSpPr/>
              <p:nvPr userDrawn="1"/>
            </p:nvSpPr>
            <p:spPr>
              <a:xfrm rot="18900000">
                <a:off x="9227663" y="1672933"/>
                <a:ext cx="2954922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455FB624-603C-81DE-1680-A1AC7F28B789}"/>
                  </a:ext>
                </a:extLst>
              </p:cNvPr>
              <p:cNvSpPr/>
              <p:nvPr/>
            </p:nvSpPr>
            <p:spPr>
              <a:xfrm>
                <a:off x="-1017" y="6143607"/>
                <a:ext cx="1172392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9CADDAF0-1E2C-CAAD-D609-57143A2BE340}"/>
                  </a:ext>
                </a:extLst>
              </p:cNvPr>
              <p:cNvSpPr/>
              <p:nvPr userDrawn="1"/>
            </p:nvSpPr>
            <p:spPr>
              <a:xfrm>
                <a:off x="-1017" y="6260318"/>
                <a:ext cx="1184210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2E89F197-7220-6CA2-951C-442E614E7E7F}"/>
                  </a:ext>
                </a:extLst>
              </p:cNvPr>
              <p:cNvSpPr/>
              <p:nvPr/>
            </p:nvSpPr>
            <p:spPr>
              <a:xfrm rot="16200000">
                <a:off x="10610640" y="5133287"/>
                <a:ext cx="2112803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165604F5-5C2B-4F57-46AB-4FEA640C8A6B}"/>
                  </a:ext>
                </a:extLst>
              </p:cNvPr>
              <p:cNvSpPr/>
              <p:nvPr userDrawn="1"/>
            </p:nvSpPr>
            <p:spPr>
              <a:xfrm rot="16200000">
                <a:off x="10604504" y="5139423"/>
                <a:ext cx="2358498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33A3CB74-6A04-282E-E053-0112A8787B51}"/>
                  </a:ext>
                </a:extLst>
              </p:cNvPr>
              <p:cNvSpPr/>
              <p:nvPr/>
            </p:nvSpPr>
            <p:spPr>
              <a:xfrm rot="10800000">
                <a:off x="9509673" y="4135243"/>
                <a:ext cx="221323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FF1ED3F-1A2C-7A34-0E50-882423C3575C}"/>
                  </a:ext>
                </a:extLst>
              </p:cNvPr>
              <p:cNvSpPr/>
              <p:nvPr userDrawn="1"/>
            </p:nvSpPr>
            <p:spPr>
              <a:xfrm rot="10800000">
                <a:off x="9616608" y="4018531"/>
                <a:ext cx="221323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AEC21F6E-1B49-15C9-3067-6506810CF18E}"/>
                </a:ext>
              </a:extLst>
            </p:cNvPr>
            <p:cNvGrpSpPr/>
            <p:nvPr userDrawn="1"/>
          </p:nvGrpSpPr>
          <p:grpSpPr>
            <a:xfrm>
              <a:off x="10912844" y="498906"/>
              <a:ext cx="932229" cy="932361"/>
              <a:chOff x="10912844" y="498906"/>
              <a:chExt cx="932229" cy="932361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A3FE3FBF-B9B5-3345-FB8A-5D679920FAAD}"/>
                  </a:ext>
                </a:extLst>
              </p:cNvPr>
              <p:cNvGrpSpPr/>
              <p:nvPr userDrawn="1"/>
            </p:nvGrpSpPr>
            <p:grpSpPr>
              <a:xfrm>
                <a:off x="10915811" y="498906"/>
                <a:ext cx="929262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25" name="Parallelogram 24">
                  <a:extLst>
                    <a:ext uri="{FF2B5EF4-FFF2-40B4-BE49-F238E27FC236}">
                      <a16:creationId xmlns:a16="http://schemas.microsoft.com/office/drawing/2014/main" id="{9E71666D-27CF-390C-D2B0-93CFD70E6A98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6" name="Parallelogram 25">
                  <a:extLst>
                    <a:ext uri="{FF2B5EF4-FFF2-40B4-BE49-F238E27FC236}">
                      <a16:creationId xmlns:a16="http://schemas.microsoft.com/office/drawing/2014/main" id="{E4FB9DA5-DA53-7DCF-98B0-A41937BCF88A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C47A0052-7CE6-B332-92D9-706143747E84}"/>
                  </a:ext>
                </a:extLst>
              </p:cNvPr>
              <p:cNvGrpSpPr/>
              <p:nvPr userDrawn="1"/>
            </p:nvGrpSpPr>
            <p:grpSpPr>
              <a:xfrm>
                <a:off x="10912844" y="609246"/>
                <a:ext cx="823347" cy="822021"/>
                <a:chOff x="3966636" y="2277354"/>
                <a:chExt cx="823347" cy="822021"/>
              </a:xfrm>
              <a:solidFill>
                <a:srgbClr val="E21A23"/>
              </a:solidFill>
            </p:grpSpPr>
            <p:sp>
              <p:nvSpPr>
                <p:cNvPr id="23" name="Parallelogram 61">
                  <a:extLst>
                    <a:ext uri="{FF2B5EF4-FFF2-40B4-BE49-F238E27FC236}">
                      <a16:creationId xmlns:a16="http://schemas.microsoft.com/office/drawing/2014/main" id="{0154C05D-843E-009C-BA23-5FF468F8D6EB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4" name="Parallelogram 61">
                  <a:extLst>
                    <a:ext uri="{FF2B5EF4-FFF2-40B4-BE49-F238E27FC236}">
                      <a16:creationId xmlns:a16="http://schemas.microsoft.com/office/drawing/2014/main" id="{0174978C-06F2-A759-62F0-4F7C4F794660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372543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VIOLE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EDE3686-DB2A-E63C-9903-A8244C6A11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  <a:solidFill>
            <a:schemeClr val="bg1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C618A1B2-2685-2048-BFE2-B6555CC8C7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chemeClr val="accent1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705B96A-8D3B-C44A-9078-413E003332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3" name="Name">
            <a:extLst>
              <a:ext uri="{FF2B5EF4-FFF2-40B4-BE49-F238E27FC236}">
                <a16:creationId xmlns:a16="http://schemas.microsoft.com/office/drawing/2014/main" id="{0B1A537D-ED77-CF4A-8ABC-E57EA11545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18" name="Email">
            <a:extLst>
              <a:ext uri="{FF2B5EF4-FFF2-40B4-BE49-F238E27FC236}">
                <a16:creationId xmlns:a16="http://schemas.microsoft.com/office/drawing/2014/main" id="{2BDDAEAE-2FFA-BA41-B1DF-A5AA99976F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Phone">
            <a:extLst>
              <a:ext uri="{FF2B5EF4-FFF2-40B4-BE49-F238E27FC236}">
                <a16:creationId xmlns:a16="http://schemas.microsoft.com/office/drawing/2014/main" id="{C34696B5-18BC-0E40-B859-7FFE6DD074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Linkedin">
            <a:extLst>
              <a:ext uri="{FF2B5EF4-FFF2-40B4-BE49-F238E27FC236}">
                <a16:creationId xmlns:a16="http://schemas.microsoft.com/office/drawing/2014/main" id="{A68E2290-CD3F-A942-9166-4970768A3A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23" name="Website">
            <a:extLst>
              <a:ext uri="{FF2B5EF4-FFF2-40B4-BE49-F238E27FC236}">
                <a16:creationId xmlns:a16="http://schemas.microsoft.com/office/drawing/2014/main" id="{5CB2CB3A-1A4A-3E4A-B674-0CCEFE6028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 descr="McGraw Hill red cube Logo">
            <a:extLst>
              <a:ext uri="{FF2B5EF4-FFF2-40B4-BE49-F238E27FC236}">
                <a16:creationId xmlns:a16="http://schemas.microsoft.com/office/drawing/2014/main" id="{F0D525F2-F9A7-7A73-4B30-ACE22BC64B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987" y="1433834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155580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  <a:solidFill>
            <a:schemeClr val="accent1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CA2A2D41-DD4C-5142-BB67-1F26B8A758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chemeClr val="bg1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C8647846-01CE-514B-90CE-D4C484DE0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3" name="Name">
            <a:extLst>
              <a:ext uri="{FF2B5EF4-FFF2-40B4-BE49-F238E27FC236}">
                <a16:creationId xmlns:a16="http://schemas.microsoft.com/office/drawing/2014/main" id="{0B1A537D-ED77-CF4A-8ABC-E57EA11545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18" name="Email">
            <a:extLst>
              <a:ext uri="{FF2B5EF4-FFF2-40B4-BE49-F238E27FC236}">
                <a16:creationId xmlns:a16="http://schemas.microsoft.com/office/drawing/2014/main" id="{2BDDAEAE-2FFA-BA41-B1DF-A5AA99976F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Phone">
            <a:extLst>
              <a:ext uri="{FF2B5EF4-FFF2-40B4-BE49-F238E27FC236}">
                <a16:creationId xmlns:a16="http://schemas.microsoft.com/office/drawing/2014/main" id="{C34696B5-18BC-0E40-B859-7FFE6DD074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Linkedin">
            <a:extLst>
              <a:ext uri="{FF2B5EF4-FFF2-40B4-BE49-F238E27FC236}">
                <a16:creationId xmlns:a16="http://schemas.microsoft.com/office/drawing/2014/main" id="{A68E2290-CD3F-A942-9166-4970768A3A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23" name="Website">
            <a:extLst>
              <a:ext uri="{FF2B5EF4-FFF2-40B4-BE49-F238E27FC236}">
                <a16:creationId xmlns:a16="http://schemas.microsoft.com/office/drawing/2014/main" id="{5CB2CB3A-1A4A-3E4A-B674-0CCEFE6028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Picture 15" descr="McGraw Hill red cube Logo">
            <a:extLst>
              <a:ext uri="{FF2B5EF4-FFF2-40B4-BE49-F238E27FC236}">
                <a16:creationId xmlns:a16="http://schemas.microsoft.com/office/drawing/2014/main" id="{B4836203-0CB8-F644-8793-692AE7EC3A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987" y="1433834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788556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Portrait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9255815" y="757008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B06EC3-1936-BF49-B989-AE8ADD2313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E3F328E6-25F0-BD44-A497-CAA2D0BA73DA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B12A726-D813-1B48-A198-EE44A52DA9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0" name="Column 1">
            <a:extLst>
              <a:ext uri="{FF2B5EF4-FFF2-40B4-BE49-F238E27FC236}">
                <a16:creationId xmlns:a16="http://schemas.microsoft.com/office/drawing/2014/main" id="{A6CC86E6-0270-1A46-AD68-EA5815E015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7" name="Column 2">
            <a:extLst>
              <a:ext uri="{FF2B5EF4-FFF2-40B4-BE49-F238E27FC236}">
                <a16:creationId xmlns:a16="http://schemas.microsoft.com/office/drawing/2014/main" id="{1658EE3A-E60D-054C-BC6C-D3AC430DED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9622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userDrawn="1">
          <p15:clr>
            <a:srgbClr val="FBAE40"/>
          </p15:clr>
        </p15:guide>
        <p15:guide id="7" pos="483" userDrawn="1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Portrai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4BC28C6-8794-0A47-ABCE-C7FC96D39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2102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66A961-BB2B-B54F-BFAB-BDA9367AED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32427A80-5FB3-1A49-8DC5-A073AD2F5B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2734AE8A-25C0-5A40-8DCA-827143D8939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19BD590-2BD8-1345-96AC-71997DB3DC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24" name="Body Text">
            <a:extLst>
              <a:ext uri="{FF2B5EF4-FFF2-40B4-BE49-F238E27FC236}">
                <a16:creationId xmlns:a16="http://schemas.microsoft.com/office/drawing/2014/main" id="{304C3CA5-856F-2F4D-9D50-08DD3F11F8B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1" name="Column 1">
            <a:extLst>
              <a:ext uri="{FF2B5EF4-FFF2-40B4-BE49-F238E27FC236}">
                <a16:creationId xmlns:a16="http://schemas.microsoft.com/office/drawing/2014/main" id="{09D023D1-AA6B-9646-A78E-0089EAAEBF9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0" name="Column 2">
            <a:extLst>
              <a:ext uri="{FF2B5EF4-FFF2-40B4-BE49-F238E27FC236}">
                <a16:creationId xmlns:a16="http://schemas.microsoft.com/office/drawing/2014/main" id="{A028DF26-A643-9E46-88A5-7D66AB1A21F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0BC10B7E-FB9A-3449-BA9D-B470A0390DF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3356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24" userDrawn="1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2 – Text Heavy / Portrai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4BC28C6-8794-0A47-ABCE-C7FC96D39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2102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BFB1D6C-A7E9-F346-8A13-0BCB15719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6" name="Chapter Title">
            <a:extLst>
              <a:ext uri="{FF2B5EF4-FFF2-40B4-BE49-F238E27FC236}">
                <a16:creationId xmlns:a16="http://schemas.microsoft.com/office/drawing/2014/main" id="{D679B90A-4AB2-E64F-865B-31FA7A647B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2734AE8A-25C0-5A40-8DCA-827143D8939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F695EBD-4DD2-D94C-8FE6-3BC8F009DD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53D7C1F0-4FF6-6146-83A3-619E9E7425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8D628D98-2995-2549-8BEB-B242D876BA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89F8ED53-76E5-D34E-AF57-48AB3FD4503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CC836EA3-0289-2F4F-9CCE-4C8FA98EA37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7077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Portrait -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91159E-FB61-BD47-87D0-43DD404B05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0EC23C69-26E3-854A-8AEA-45792C9D8A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3E7B488B-7F58-E041-8E34-0A5108AC4422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950784B-C4DC-1048-8DB0-FBA0B7ED9C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3C493DB4-6E5A-0A49-B823-5D376D9C9E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6" name="Column 1">
            <a:extLst>
              <a:ext uri="{FF2B5EF4-FFF2-40B4-BE49-F238E27FC236}">
                <a16:creationId xmlns:a16="http://schemas.microsoft.com/office/drawing/2014/main" id="{8328127D-150E-B44E-BC89-0FD65043CC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6906905-9636-614B-830C-DF2EEB425E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9F580762-E4FC-D041-AD65-42DCA22C0A8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28334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E0D79D-6B62-1B4E-A21C-A07AA43102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Display Date">
            <a:extLst>
              <a:ext uri="{FF2B5EF4-FFF2-40B4-BE49-F238E27FC236}">
                <a16:creationId xmlns:a16="http://schemas.microsoft.com/office/drawing/2014/main" id="{21B27012-3D0D-FB4F-BBD6-DB9D89F837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2" name="Name &amp; Surname">
            <a:extLst>
              <a:ext uri="{FF2B5EF4-FFF2-40B4-BE49-F238E27FC236}">
                <a16:creationId xmlns:a16="http://schemas.microsoft.com/office/drawing/2014/main" id="{F4DD2720-7DE1-9C4E-8E6F-F5ED11239F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251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Grid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B2C9B86-2BA7-2C49-9B52-F95410DF70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305E351-B915-BD4D-A104-CE8A78E877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46F47BCD-2606-6446-B953-7EA51944FC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B9889367-1837-7547-8ADE-81B76555895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1670CB5-F520-4F4E-9416-10F61C1776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B923205D-6211-744A-A7D6-56BDC2958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22814ED1-29B4-164D-A3B2-0C0FCADE43F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97E1AD9F-2EE3-7442-9BF2-6F9AFDC280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78965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Grid -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93E3DBC-5438-6E46-92A8-F6F9A5B2B2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9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BA38B5C-C304-CF4C-9CE1-7646337157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9E4B0D1D-604E-5845-A559-76143769A4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0B370684-59CB-9D48-9E3B-4A19CF85F57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BEA7924-9977-A944-8820-5611CD6A14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E9167E63-18F2-B54A-93ED-51E4F364ED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9D45D5EF-D30C-1D4E-8C2E-CA2D9F7AD4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364274DE-F93B-234F-80D3-BADE92110F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6901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Grid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52B30F-DA32-BD48-A150-841D2CC200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C14102-5D1F-CC47-96A6-0F8B125B3B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FE7CC563-C876-8D49-9C67-CE4C3C65E6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30E17DB6-2150-0D46-8340-D3581FF40EC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D5738-B9A4-D446-8B86-A0199FBA6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31A62204-B7CF-0F47-9302-7611750252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C4D93840-F4DD-B843-BC4B-8AF7F98AB0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A2CB17AE-D121-8144-B913-2A0997DF2C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506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 – Text Heavy / Arrow - L. H.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roup 55">
            <a:extLst>
              <a:ext uri="{FF2B5EF4-FFF2-40B4-BE49-F238E27FC236}">
                <a16:creationId xmlns:a16="http://schemas.microsoft.com/office/drawing/2014/main" id="{5177BBD6-89E5-8A4C-A618-63E9F5266B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5031"/>
            <a:ext cx="11908923" cy="5164009"/>
            <a:chOff x="-13447" y="1205031"/>
            <a:chExt cx="11908923" cy="5164009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8A07E183-013B-4343-998D-88050E602673}"/>
                </a:ext>
              </a:extLst>
            </p:cNvPr>
            <p:cNvGrpSpPr/>
            <p:nvPr userDrawn="1"/>
          </p:nvGrpSpPr>
          <p:grpSpPr>
            <a:xfrm>
              <a:off x="10799406" y="1609994"/>
              <a:ext cx="1096070" cy="200297"/>
              <a:chOff x="10799406" y="1609994"/>
              <a:chExt cx="1096070" cy="200297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128CCC9-E183-EB47-863F-66E818DAF996}"/>
                  </a:ext>
                </a:extLst>
              </p:cNvPr>
              <p:cNvSpPr/>
              <p:nvPr userDrawn="1"/>
            </p:nvSpPr>
            <p:spPr>
              <a:xfrm rot="18900000">
                <a:off x="10799406" y="1609994"/>
                <a:ext cx="1013101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BE3AC1E5-E15F-2140-9827-AA174AFAE02C}"/>
                  </a:ext>
                </a:extLst>
              </p:cNvPr>
              <p:cNvSpPr/>
              <p:nvPr userDrawn="1"/>
            </p:nvSpPr>
            <p:spPr>
              <a:xfrm rot="18900000">
                <a:off x="10879377" y="1693580"/>
                <a:ext cx="101609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0780782-1930-9744-964A-B91E28E603A0}"/>
                </a:ext>
              </a:extLst>
            </p:cNvPr>
            <p:cNvGrpSpPr/>
            <p:nvPr userDrawn="1"/>
          </p:nvGrpSpPr>
          <p:grpSpPr>
            <a:xfrm>
              <a:off x="10894136" y="1205031"/>
              <a:ext cx="940179" cy="935947"/>
              <a:chOff x="10894136" y="1205031"/>
              <a:chExt cx="940179" cy="935947"/>
            </a:xfrm>
          </p:grpSpPr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45EC1281-6FEB-A14E-8D42-5C0399A71E23}"/>
                  </a:ext>
                </a:extLst>
              </p:cNvPr>
              <p:cNvGrpSpPr/>
              <p:nvPr userDrawn="1"/>
            </p:nvGrpSpPr>
            <p:grpSpPr>
              <a:xfrm>
                <a:off x="10896080" y="1205031"/>
                <a:ext cx="938235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7" name="Parallelogram 46">
                  <a:extLst>
                    <a:ext uri="{FF2B5EF4-FFF2-40B4-BE49-F238E27FC236}">
                      <a16:creationId xmlns:a16="http://schemas.microsoft.com/office/drawing/2014/main" id="{7D96E391-66F0-0645-9D24-AEA901FA1B2B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8" name="Parallelogram 47">
                  <a:extLst>
                    <a:ext uri="{FF2B5EF4-FFF2-40B4-BE49-F238E27FC236}">
                      <a16:creationId xmlns:a16="http://schemas.microsoft.com/office/drawing/2014/main" id="{0B1B1425-47C9-7C46-926A-21890752B4CD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5195C950-E43E-BE48-8808-D0948E9FAB67}"/>
                  </a:ext>
                </a:extLst>
              </p:cNvPr>
              <p:cNvGrpSpPr/>
              <p:nvPr userDrawn="1"/>
            </p:nvGrpSpPr>
            <p:grpSpPr>
              <a:xfrm>
                <a:off x="10894136" y="1318957"/>
                <a:ext cx="831297" cy="822021"/>
                <a:chOff x="3966636" y="2277354"/>
                <a:chExt cx="823347" cy="822021"/>
              </a:xfrm>
              <a:solidFill>
                <a:srgbClr val="06235B"/>
              </a:solidFill>
            </p:grpSpPr>
            <p:sp>
              <p:nvSpPr>
                <p:cNvPr id="45" name="Parallelogram 61">
                  <a:extLst>
                    <a:ext uri="{FF2B5EF4-FFF2-40B4-BE49-F238E27FC236}">
                      <a16:creationId xmlns:a16="http://schemas.microsoft.com/office/drawing/2014/main" id="{9DCC372B-6B4D-924C-A629-07FA51756A14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6" name="Parallelogram 61">
                  <a:extLst>
                    <a:ext uri="{FF2B5EF4-FFF2-40B4-BE49-F238E27FC236}">
                      <a16:creationId xmlns:a16="http://schemas.microsoft.com/office/drawing/2014/main" id="{C32C7223-D73E-5F40-B470-48EB281F38CE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3B25C319-2990-5F44-9E6C-9230EDFA1D64}"/>
                </a:ext>
              </a:extLst>
            </p:cNvPr>
            <p:cNvGrpSpPr/>
            <p:nvPr userDrawn="1"/>
          </p:nvGrpSpPr>
          <p:grpSpPr>
            <a:xfrm>
              <a:off x="-13447" y="6149065"/>
              <a:ext cx="11072003" cy="219975"/>
              <a:chOff x="-13447" y="6149065"/>
              <a:chExt cx="11072003" cy="219975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05832D2A-E5F4-3147-B1F2-0F66239A3AFE}"/>
                  </a:ext>
                </a:extLst>
              </p:cNvPr>
              <p:cNvSpPr/>
              <p:nvPr userDrawn="1"/>
            </p:nvSpPr>
            <p:spPr>
              <a:xfrm>
                <a:off x="-13446" y="6149065"/>
                <a:ext cx="1102110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71BE06FC-1F60-7648-8CD3-2993C5D1A6AB}"/>
                  </a:ext>
                </a:extLst>
              </p:cNvPr>
              <p:cNvSpPr/>
              <p:nvPr userDrawn="1"/>
            </p:nvSpPr>
            <p:spPr>
              <a:xfrm>
                <a:off x="-13447" y="6252329"/>
                <a:ext cx="11072003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E7E466A8-3EE2-8347-9B9C-FE56409F0248}"/>
                </a:ext>
              </a:extLst>
            </p:cNvPr>
            <p:cNvGrpSpPr/>
            <p:nvPr userDrawn="1"/>
          </p:nvGrpSpPr>
          <p:grpSpPr>
            <a:xfrm>
              <a:off x="10905626" y="1984376"/>
              <a:ext cx="221104" cy="4371214"/>
              <a:chOff x="10905626" y="1984376"/>
              <a:chExt cx="221104" cy="4371214"/>
            </a:xfrm>
          </p:grpSpPr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CB74D01D-AF7D-F546-9D97-25EB36CB7AB2}"/>
                  </a:ext>
                </a:extLst>
              </p:cNvPr>
              <p:cNvSpPr/>
              <p:nvPr userDrawn="1"/>
            </p:nvSpPr>
            <p:spPr>
              <a:xfrm rot="16200000">
                <a:off x="8837278" y="4052724"/>
                <a:ext cx="4254534" cy="11783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FDE4EF2A-625F-DE47-B16E-96317A6EF3C6}"/>
                  </a:ext>
                </a:extLst>
              </p:cNvPr>
              <p:cNvSpPr/>
              <p:nvPr userDrawn="1"/>
            </p:nvSpPr>
            <p:spPr>
              <a:xfrm rot="16200000">
                <a:off x="8907603" y="4136464"/>
                <a:ext cx="4320415" cy="117838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99DEEC-FB65-6B40-99C0-B38B502ABA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8" name="Chapter Title">
            <a:extLst>
              <a:ext uri="{FF2B5EF4-FFF2-40B4-BE49-F238E27FC236}">
                <a16:creationId xmlns:a16="http://schemas.microsoft.com/office/drawing/2014/main" id="{43C2F540-BC4F-4F4B-A13F-64EFF4C3B6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9" name="Pg">
            <a:extLst>
              <a:ext uri="{FF2B5EF4-FFF2-40B4-BE49-F238E27FC236}">
                <a16:creationId xmlns:a16="http://schemas.microsoft.com/office/drawing/2014/main" id="{A8099171-5756-5C41-97AC-1AFF8DDD9B6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CE4F8156-A223-6D49-A819-DDA0DC712A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6" name="Column 1">
            <a:extLst>
              <a:ext uri="{FF2B5EF4-FFF2-40B4-BE49-F238E27FC236}">
                <a16:creationId xmlns:a16="http://schemas.microsoft.com/office/drawing/2014/main" id="{D0E48077-2819-8A49-A05C-6703D2804F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30" name="Column 2">
            <a:extLst>
              <a:ext uri="{FF2B5EF4-FFF2-40B4-BE49-F238E27FC236}">
                <a16:creationId xmlns:a16="http://schemas.microsoft.com/office/drawing/2014/main" id="{92FCC806-979D-BB45-BD58-D2DFE35FAE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18567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 – Text Heavy / Arrow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7F32332A-D1E5-0344-8F4A-15782F24E2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1205032"/>
            <a:ext cx="11851251" cy="5142543"/>
            <a:chOff x="-14169" y="507347"/>
            <a:chExt cx="11851251" cy="5142543"/>
          </a:xfrm>
          <a:solidFill>
            <a:schemeClr val="accent1"/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D639499-1066-AF40-AE90-26A09D51A0A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941F98C-5BFA-6740-9613-30D0EA32ABE5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A82A5495-6A16-7E4F-A10F-15796EDFE106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18" name="Parallelogram 17">
                <a:extLst>
                  <a:ext uri="{FF2B5EF4-FFF2-40B4-BE49-F238E27FC236}">
                    <a16:creationId xmlns:a16="http://schemas.microsoft.com/office/drawing/2014/main" id="{621988DE-95DC-EE45-B046-15D64BBAD7B4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8C4E5648-7B44-9343-B639-CE2FCAA69CE2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6DBC325-AACD-E348-B1CE-AA37A6B0B9C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7360358-6D06-CC44-8D16-DB5DC58495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0" name="Chapter Title">
            <a:extLst>
              <a:ext uri="{FF2B5EF4-FFF2-40B4-BE49-F238E27FC236}">
                <a16:creationId xmlns:a16="http://schemas.microsoft.com/office/drawing/2014/main" id="{7C7FF68D-EE65-2F48-93AE-190A7B1020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Pg">
            <a:extLst>
              <a:ext uri="{FF2B5EF4-FFF2-40B4-BE49-F238E27FC236}">
                <a16:creationId xmlns:a16="http://schemas.microsoft.com/office/drawing/2014/main" id="{74E3B440-1518-AF4D-8F84-A9675B04F0A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612D239-8581-4C4B-90B8-B54512088E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599A04D7-A149-394C-B40F-92490463FE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5F1C930-B750-C841-B8C0-548499F4AF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4070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200" userDrawn="1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 – Text Heav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pter Title">
            <a:extLst>
              <a:ext uri="{FF2B5EF4-FFF2-40B4-BE49-F238E27FC236}">
                <a16:creationId xmlns:a16="http://schemas.microsoft.com/office/drawing/2014/main" id="{6270A90D-500C-E74E-8060-95448D45EE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7549A0-DD2F-6C43-86AE-FF641D1700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BF1DBC1E-7F69-B843-B19E-79A078D9478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F4E5FD-8EB6-BE45-B712-8F1275A7C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olumn 1">
            <a:extLst>
              <a:ext uri="{FF2B5EF4-FFF2-40B4-BE49-F238E27FC236}">
                <a16:creationId xmlns:a16="http://schemas.microsoft.com/office/drawing/2014/main" id="{D98A9DBF-922D-A54A-AEA9-91C2162DC5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6F862A84-E061-8143-BCE7-4C9B9A9B5E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14959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33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Pie Chart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6648C4D-D816-204A-B723-761FDB2941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0" name="Chapter Title">
            <a:extLst>
              <a:ext uri="{FF2B5EF4-FFF2-40B4-BE49-F238E27FC236}">
                <a16:creationId xmlns:a16="http://schemas.microsoft.com/office/drawing/2014/main" id="{53281EAB-F476-BB40-9FAD-E65D90D2C3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7390110-5AD8-874C-AE1F-E0FB2ECFB94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C5A7534-3DAA-9741-9B2A-18B0C4851A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12A4A311-C970-5B47-B8B4-279475D8343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6552" y="2064520"/>
            <a:ext cx="4222331" cy="3434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Chart Heading Title Case</a:t>
            </a:r>
          </a:p>
          <a:p>
            <a:pPr lvl="0"/>
            <a:endParaRPr lang="en-US"/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94A1DD1E-0FD4-334D-AC0E-B10F7CCB6E2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2595" y="2898212"/>
            <a:ext cx="4603750" cy="345146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</a:t>
            </a:r>
            <a:r>
              <a:rPr lang="en-US"/>
              <a:t> </a:t>
            </a:r>
            <a:r>
              <a:rPr lang="en-US" err="1"/>
              <a:t>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.</a:t>
            </a:r>
          </a:p>
          <a:p>
            <a:pPr lvl="0"/>
            <a:r>
              <a:rPr lang="en-US" err="1"/>
              <a:t>Elitsed</a:t>
            </a:r>
            <a:r>
              <a:rPr lang="en-US"/>
              <a:t> diam </a:t>
            </a:r>
            <a:r>
              <a:rPr lang="en-US" err="1"/>
              <a:t>nonumm</a:t>
            </a:r>
            <a:r>
              <a:rPr lang="en-US"/>
              <a:t> </a:t>
            </a:r>
            <a:r>
              <a:rPr lang="en-US" err="1"/>
              <a:t>y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</a:t>
            </a:r>
            <a:r>
              <a:rPr lang="en-US"/>
              <a:t> </a:t>
            </a:r>
            <a:r>
              <a:rPr lang="en-US" err="1"/>
              <a:t>ter</a:t>
            </a:r>
            <a:r>
              <a:rPr lang="en-US"/>
              <a:t> pat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</a:t>
            </a:r>
            <a:r>
              <a:rPr lang="en-US"/>
              <a:t> </a:t>
            </a:r>
            <a:r>
              <a:rPr lang="en-US" err="1"/>
              <a:t>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301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152" userDrawn="1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Line 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0979F1B-0C1D-4D46-9688-E70042C91F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9" name="Chapter Title">
            <a:extLst>
              <a:ext uri="{FF2B5EF4-FFF2-40B4-BE49-F238E27FC236}">
                <a16:creationId xmlns:a16="http://schemas.microsoft.com/office/drawing/2014/main" id="{B60AC181-A0E8-C848-B86F-709FE51408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C5E5542-63AF-264A-9B02-20F2AE5C86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3" y="1042826"/>
            <a:ext cx="4290529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18804494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Snake Diagram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F873E0C-0627-D042-9703-1082CC31C9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442212F1-2279-1344-BAF9-2D55C3372D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2EAAC9DE-6713-2148-84D1-A07827E478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431137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8AE632E4-8081-4C4C-93AA-8BA65412F71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2522" y="3249621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9" name="Column 1">
            <a:extLst>
              <a:ext uri="{FF2B5EF4-FFF2-40B4-BE49-F238E27FC236}">
                <a16:creationId xmlns:a16="http://schemas.microsoft.com/office/drawing/2014/main" id="{F485FDB3-B021-C94D-B1BF-23D048DEBF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7994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0" name="Subtitle 2">
            <a:extLst>
              <a:ext uri="{FF2B5EF4-FFF2-40B4-BE49-F238E27FC236}">
                <a16:creationId xmlns:a16="http://schemas.microsoft.com/office/drawing/2014/main" id="{736B6D3D-9619-D84B-95A2-F3E1C1AC6D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97417" y="3237429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1" name="Column 2">
            <a:extLst>
              <a:ext uri="{FF2B5EF4-FFF2-40B4-BE49-F238E27FC236}">
                <a16:creationId xmlns:a16="http://schemas.microsoft.com/office/drawing/2014/main" id="{33CFB3D8-4385-F845-A13A-64C1CF86398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32889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4" name="Subtitle 3">
            <a:extLst>
              <a:ext uri="{FF2B5EF4-FFF2-40B4-BE49-F238E27FC236}">
                <a16:creationId xmlns:a16="http://schemas.microsoft.com/office/drawing/2014/main" id="{BE099D4A-DC27-5241-986A-5206F128171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87928" y="3237763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5" name="Column 3">
            <a:extLst>
              <a:ext uri="{FF2B5EF4-FFF2-40B4-BE49-F238E27FC236}">
                <a16:creationId xmlns:a16="http://schemas.microsoft.com/office/drawing/2014/main" id="{3FB1514F-7252-9A47-9F31-9DF3A0FDA3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23400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6" name="Subtitle 4">
            <a:extLst>
              <a:ext uri="{FF2B5EF4-FFF2-40B4-BE49-F238E27FC236}">
                <a16:creationId xmlns:a16="http://schemas.microsoft.com/office/drawing/2014/main" id="{36EF0826-D37B-ED42-A4D1-0E9D953AC1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778439" y="3237429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7" name="Column 4">
            <a:extLst>
              <a:ext uri="{FF2B5EF4-FFF2-40B4-BE49-F238E27FC236}">
                <a16:creationId xmlns:a16="http://schemas.microsoft.com/office/drawing/2014/main" id="{CB5A08EF-59FA-A34E-A79B-E69C2515DB8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813911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38171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Double Snake Diagram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010714B-F67D-BB4E-BD72-F5575995A6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355C42A9-CCA2-A241-8EFB-F2646A8476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8F93229-4B98-4D48-95A2-B2901D647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431137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49" name="1">
            <a:extLst>
              <a:ext uri="{FF2B5EF4-FFF2-40B4-BE49-F238E27FC236}">
                <a16:creationId xmlns:a16="http://schemas.microsoft.com/office/drawing/2014/main" id="{F485FDB3-B021-C94D-B1BF-23D048DEBF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4462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6" name="2">
            <a:extLst>
              <a:ext uri="{FF2B5EF4-FFF2-40B4-BE49-F238E27FC236}">
                <a16:creationId xmlns:a16="http://schemas.microsoft.com/office/drawing/2014/main" id="{D17D20DF-7F50-7847-AA55-BE4484E3669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2219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7" name="3">
            <a:extLst>
              <a:ext uri="{FF2B5EF4-FFF2-40B4-BE49-F238E27FC236}">
                <a16:creationId xmlns:a16="http://schemas.microsoft.com/office/drawing/2014/main" id="{FEED5375-BE04-DD48-860C-ADC9A4187CE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89976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8" name="4">
            <a:extLst>
              <a:ext uri="{FF2B5EF4-FFF2-40B4-BE49-F238E27FC236}">
                <a16:creationId xmlns:a16="http://schemas.microsoft.com/office/drawing/2014/main" id="{D3C9ED7B-28DB-214B-B183-0B2D936B682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37733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9" name="5">
            <a:extLst>
              <a:ext uri="{FF2B5EF4-FFF2-40B4-BE49-F238E27FC236}">
                <a16:creationId xmlns:a16="http://schemas.microsoft.com/office/drawing/2014/main" id="{836F4DC2-D0EF-D54B-863B-E592B01A8A9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94462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40" name="6">
            <a:extLst>
              <a:ext uri="{FF2B5EF4-FFF2-40B4-BE49-F238E27FC236}">
                <a16:creationId xmlns:a16="http://schemas.microsoft.com/office/drawing/2014/main" id="{AF98966C-9920-C44A-A83D-2612A077A86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42219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41" name="7">
            <a:extLst>
              <a:ext uri="{FF2B5EF4-FFF2-40B4-BE49-F238E27FC236}">
                <a16:creationId xmlns:a16="http://schemas.microsoft.com/office/drawing/2014/main" id="{D1984EE8-D54B-A744-A37B-DEBCFC6007E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789976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42" name="8">
            <a:extLst>
              <a:ext uri="{FF2B5EF4-FFF2-40B4-BE49-F238E27FC236}">
                <a16:creationId xmlns:a16="http://schemas.microsoft.com/office/drawing/2014/main" id="{7B40AD15-439C-BA4F-9047-4B8A86FDFB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37733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0911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VIOLE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ECD4933-6BE6-E603-C835-4A8D8C7372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Display Date">
            <a:extLst>
              <a:ext uri="{FF2B5EF4-FFF2-40B4-BE49-F238E27FC236}">
                <a16:creationId xmlns:a16="http://schemas.microsoft.com/office/drawing/2014/main" id="{21B27012-3D0D-FB4F-BBD6-DB9D89F837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2" name="Name &amp; Surname">
            <a:extLst>
              <a:ext uri="{FF2B5EF4-FFF2-40B4-BE49-F238E27FC236}">
                <a16:creationId xmlns:a16="http://schemas.microsoft.com/office/drawing/2014/main" id="{F4DD2720-7DE1-9C4E-8E6F-F5ED11239F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51506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Graph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7E5B97-5140-1342-B6ED-D224671367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0" name="Chapter Title">
            <a:extLst>
              <a:ext uri="{FF2B5EF4-FFF2-40B4-BE49-F238E27FC236}">
                <a16:creationId xmlns:a16="http://schemas.microsoft.com/office/drawing/2014/main" id="{D17B5A40-4A38-5248-B89D-84C868D1FA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F0F2683A-ECA5-9C4E-BF91-067F9FA63B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431137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6" name="1">
            <a:extLst>
              <a:ext uri="{FF2B5EF4-FFF2-40B4-BE49-F238E27FC236}">
                <a16:creationId xmlns:a16="http://schemas.microsoft.com/office/drawing/2014/main" id="{6877937D-3DA9-CD4C-8F73-B4C57F6B89D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32054" y="2482859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30" name="1 Copy">
            <a:extLst>
              <a:ext uri="{FF2B5EF4-FFF2-40B4-BE49-F238E27FC236}">
                <a16:creationId xmlns:a16="http://schemas.microsoft.com/office/drawing/2014/main" id="{45956B13-ADB8-FB42-9D61-0934942431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968641" y="2440890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4" name="2">
            <a:extLst>
              <a:ext uri="{FF2B5EF4-FFF2-40B4-BE49-F238E27FC236}">
                <a16:creationId xmlns:a16="http://schemas.microsoft.com/office/drawing/2014/main" id="{BEE0936E-7081-7D41-B93D-0E5933D3FD9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349830" y="3075158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1" name="2 Copy">
            <a:extLst>
              <a:ext uri="{FF2B5EF4-FFF2-40B4-BE49-F238E27FC236}">
                <a16:creationId xmlns:a16="http://schemas.microsoft.com/office/drawing/2014/main" id="{DBCBFBE9-4518-D945-963C-3573703678A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968641" y="3038674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5" name="3">
            <a:extLst>
              <a:ext uri="{FF2B5EF4-FFF2-40B4-BE49-F238E27FC236}">
                <a16:creationId xmlns:a16="http://schemas.microsoft.com/office/drawing/2014/main" id="{49567076-20B4-3642-8E2F-792E66F7EF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40470" y="3660178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2" name="3 Copy">
            <a:extLst>
              <a:ext uri="{FF2B5EF4-FFF2-40B4-BE49-F238E27FC236}">
                <a16:creationId xmlns:a16="http://schemas.microsoft.com/office/drawing/2014/main" id="{689E5928-A1E4-6243-A711-E0A1F28C3DC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968641" y="3636458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6" name="4">
            <a:extLst>
              <a:ext uri="{FF2B5EF4-FFF2-40B4-BE49-F238E27FC236}">
                <a16:creationId xmlns:a16="http://schemas.microsoft.com/office/drawing/2014/main" id="{A286B0CE-7439-0843-88F7-DD73DB90341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60586" y="4281061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3" name="4 Copy">
            <a:extLst>
              <a:ext uri="{FF2B5EF4-FFF2-40B4-BE49-F238E27FC236}">
                <a16:creationId xmlns:a16="http://schemas.microsoft.com/office/drawing/2014/main" id="{0CC7A3C0-0C37-154F-9CC8-FF8A82DFE13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968641" y="4234242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7" name="5">
            <a:extLst>
              <a:ext uri="{FF2B5EF4-FFF2-40B4-BE49-F238E27FC236}">
                <a16:creationId xmlns:a16="http://schemas.microsoft.com/office/drawing/2014/main" id="{D35007DD-4D32-744C-9E0C-CC04D81DFFE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60586" y="4860299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5" name="5 Copy">
            <a:extLst>
              <a:ext uri="{FF2B5EF4-FFF2-40B4-BE49-F238E27FC236}">
                <a16:creationId xmlns:a16="http://schemas.microsoft.com/office/drawing/2014/main" id="{DEE6D165-02D6-C142-9029-62B0DDA96A9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968641" y="4832026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8" name="6">
            <a:extLst>
              <a:ext uri="{FF2B5EF4-FFF2-40B4-BE49-F238E27FC236}">
                <a16:creationId xmlns:a16="http://schemas.microsoft.com/office/drawing/2014/main" id="{3F434AC7-9FE2-4945-B806-6357E326DAC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357312" y="5454659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34" name="6 Copy">
            <a:extLst>
              <a:ext uri="{FF2B5EF4-FFF2-40B4-BE49-F238E27FC236}">
                <a16:creationId xmlns:a16="http://schemas.microsoft.com/office/drawing/2014/main" id="{CD847155-579D-9044-9614-337C9A88263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968641" y="5429810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91209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 – Table 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2671B7B-445E-B64B-8114-C3FF49315F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6" name="Chapter Title">
            <a:extLst>
              <a:ext uri="{FF2B5EF4-FFF2-40B4-BE49-F238E27FC236}">
                <a16:creationId xmlns:a16="http://schemas.microsoft.com/office/drawing/2014/main" id="{4F973414-A48D-024D-8D5D-555A01E509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404CC2A3-2ED5-DB4A-A828-ED53650C053C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B25ADB5-7546-5143-B79B-78DCA81BF1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842681"/>
            <a:ext cx="10752234" cy="748230"/>
          </a:xfrm>
        </p:spPr>
        <p:txBody>
          <a:bodyPr anchor="b"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3381096E-0A87-A446-B08F-AFD6FBB17DB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6552" y="1648610"/>
            <a:ext cx="10752236" cy="3434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0"/>
            </a:lvl1pPr>
          </a:lstStyle>
          <a:p>
            <a:pPr lvl="0"/>
            <a:r>
              <a:rPr lang="en-US"/>
              <a:t>Chart Heading Title Case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01526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 – Call Out Box / Image / Copy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260F9E-07AF-6041-980F-7BA9115C09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5DC50E46-D1E3-BA46-B0BD-6C842CD589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B8F9C1D-0289-1A42-AF78-E70116C939D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106F7C5-7A97-E444-BFB0-CF29BEA88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" name="Body Text">
            <a:extLst>
              <a:ext uri="{FF2B5EF4-FFF2-40B4-BE49-F238E27FC236}">
                <a16:creationId xmlns:a16="http://schemas.microsoft.com/office/drawing/2014/main" id="{3F162B5C-891C-0B44-A2E9-6A1FC9970C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adipiscing elit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amet, elit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63519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19124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ide Basic Content, 1-Line Headlin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EC2ECA2C-6A4B-843C-DB4F-601C52819D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361875D-2FEA-BE95-9218-81D842E528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477129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EECD8F3-B47A-55F4-BAEE-B560FF3716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6131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EECD8F3-B47A-55F4-BAEE-B560FF3716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7BC29FB-1888-7644-9A68-E10411877A79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F201A529-5C10-4027-8858-CB3A56EEF3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200D9094-B4FD-4E32-FF5C-1A9521CAD8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D458F59-CF19-9D49-C2AB-3C48D4C196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74AB1EBE-4491-4616-D7DF-4C6FCC615E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252310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DA98AFB-5A8C-10F9-72B8-8992D01A85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964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DA98AFB-5A8C-10F9-72B8-8992D01A8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3">
            <a:extLst>
              <a:ext uri="{FF2B5EF4-FFF2-40B4-BE49-F238E27FC236}">
                <a16:creationId xmlns:a16="http://schemas.microsoft.com/office/drawing/2014/main" id="{9CE5718B-CC91-F24E-BB58-FE030026A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842" y="315430"/>
            <a:ext cx="11315910" cy="1325563"/>
          </a:xfrm>
        </p:spPr>
        <p:txBody>
          <a:bodyPr vert="horz">
            <a:normAutofit/>
          </a:bodyPr>
          <a:lstStyle>
            <a:lvl1pPr>
              <a:defRPr sz="2800" b="1" i="0">
                <a:latin typeface="Magazine Grotesque Bold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691990FE-98EC-83F9-AA3B-D6E75AAB59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3A5243D-3F4D-5BC4-1C23-56B131C1D11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>
            <a:extLst>
              <a:ext uri="{FF2B5EF4-FFF2-40B4-BE49-F238E27FC236}">
                <a16:creationId xmlns:a16="http://schemas.microsoft.com/office/drawing/2014/main" id="{F4EDB59E-3599-C6C4-D2A0-319F7AB9DB9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C595D9C4-58B3-A9CC-9598-24F869DC76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6131870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DA98AFB-5A8C-10F9-72B8-8992D01A85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964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DA98AFB-5A8C-10F9-72B8-8992D01A8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9841" y="1825625"/>
            <a:ext cx="11315911" cy="4351338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Magazine Grotesque" pitchFamily="2" charset="77"/>
              </a:defRPr>
            </a:lvl1pPr>
            <a:lvl2pPr>
              <a:defRPr b="0" i="0">
                <a:latin typeface="Magazine Grotesque" pitchFamily="2" charset="77"/>
              </a:defRPr>
            </a:lvl2pPr>
            <a:lvl3pPr>
              <a:defRPr b="0" i="0">
                <a:latin typeface="Magazine Grotesque" pitchFamily="2" charset="77"/>
              </a:defRPr>
            </a:lvl3pPr>
            <a:lvl4pPr>
              <a:defRPr b="0" i="0">
                <a:latin typeface="Magazine Grotesque" pitchFamily="2" charset="77"/>
              </a:defRPr>
            </a:lvl4pPr>
            <a:lvl5pPr>
              <a:defRPr b="0" i="0">
                <a:latin typeface="Magazine Grotesque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9CE5718B-CC91-F24E-BB58-FE030026A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842" y="315430"/>
            <a:ext cx="11315910" cy="1325563"/>
          </a:xfrm>
        </p:spPr>
        <p:txBody>
          <a:bodyPr vert="horz">
            <a:normAutofit/>
          </a:bodyPr>
          <a:lstStyle>
            <a:lvl1pPr>
              <a:defRPr sz="2800" b="1" i="0">
                <a:latin typeface="Magazine Grotesque Bold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691990FE-98EC-83F9-AA3B-D6E75AAB59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3A5243D-3F4D-5BC4-1C23-56B131C1D11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>
            <a:extLst>
              <a:ext uri="{FF2B5EF4-FFF2-40B4-BE49-F238E27FC236}">
                <a16:creationId xmlns:a16="http://schemas.microsoft.com/office/drawing/2014/main" id="{F4EDB59E-3599-C6C4-D2A0-319F7AB9DB9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7121C30A-2478-DD68-AA01-B696BF05B4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0970881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EECD8F3-B47A-55F4-BAEE-B560FF3716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697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EECD8F3-B47A-55F4-BAEE-B560FF3716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2285" y="315430"/>
            <a:ext cx="11313466" cy="583142"/>
          </a:xfrm>
        </p:spPr>
        <p:txBody>
          <a:bodyPr vert="horz">
            <a:normAutofit/>
          </a:bodyPr>
          <a:lstStyle>
            <a:lvl1pPr>
              <a:defRPr sz="2800">
                <a:latin typeface="Magazine Grotesque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2285" y="1018117"/>
            <a:ext cx="11313466" cy="5158846"/>
          </a:xfrm>
          <a:prstGeom prst="rect">
            <a:avLst/>
          </a:prstGeom>
        </p:spPr>
        <p:txBody>
          <a:bodyPr/>
          <a:lstStyle>
            <a:lvl1pPr>
              <a:defRPr>
                <a:latin typeface="Magazine Grotesque" pitchFamily="2" charset="77"/>
              </a:defRPr>
            </a:lvl1pPr>
            <a:lvl2pPr>
              <a:defRPr>
                <a:latin typeface="Magazine Grotesque" pitchFamily="2" charset="77"/>
              </a:defRPr>
            </a:lvl2pPr>
            <a:lvl3pPr>
              <a:defRPr>
                <a:latin typeface="Magazine Grotesque" pitchFamily="2" charset="77"/>
              </a:defRPr>
            </a:lvl3pPr>
            <a:lvl4pPr>
              <a:defRPr>
                <a:latin typeface="Magazine Grotesque" pitchFamily="2" charset="77"/>
              </a:defRPr>
            </a:lvl4pPr>
            <a:lvl5pPr>
              <a:defRPr>
                <a:latin typeface="Magazine Grotesque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7BC29FB-1888-7644-9A68-E10411877A79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F201A529-5C10-4027-8858-CB3A56EEF3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200D9094-B4FD-4E32-FF5C-1A9521CAD8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845EB33-BC40-B541-2DE3-635AE372BC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1767409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2D4F08D-BE1E-443D-8782-37662CDDF2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899AE9EF-61EB-ACFA-4820-EBD3F6BBD83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6E05E0AA-A4C4-9006-5021-1A09E19FCA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94058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D3E3721-D71C-242D-9FAB-F7484EE46E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Display Date">
            <a:extLst>
              <a:ext uri="{FF2B5EF4-FFF2-40B4-BE49-F238E27FC236}">
                <a16:creationId xmlns:a16="http://schemas.microsoft.com/office/drawing/2014/main" id="{EAD50B81-779F-8B92-2873-78302959C0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6" name="Name &amp; Surname">
            <a:extLst>
              <a:ext uri="{FF2B5EF4-FFF2-40B4-BE49-F238E27FC236}">
                <a16:creationId xmlns:a16="http://schemas.microsoft.com/office/drawing/2014/main" id="{B78998DC-34A4-E505-E5B2-065B7AD50D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EF39B048-D0F7-FC99-C35F-01B454D907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9C0D03-7FFE-8DD0-BA3B-5C5C71E1F4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1" name="Picture 30" descr="McGraw Hill red cube Logo">
            <a:extLst>
              <a:ext uri="{FF2B5EF4-FFF2-40B4-BE49-F238E27FC236}">
                <a16:creationId xmlns:a16="http://schemas.microsoft.com/office/drawing/2014/main" id="{EFEC87DA-795E-124E-97B1-9468E0ABC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321270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ide Basic Content, 1-Line Headlin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EC2ECA2C-6A4B-843C-DB4F-601C52819D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361875D-2FEA-BE95-9218-81D842E528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822047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Red">
    <p:bg>
      <p:bgPr>
        <a:solidFill>
          <a:srgbClr val="D023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FE2B1DE6-88E8-5940-A140-CEFB25E44F8E}"/>
              </a:ext>
            </a:extLst>
          </p:cNvPr>
          <p:cNvGrpSpPr/>
          <p:nvPr userDrawn="1"/>
        </p:nvGrpSpPr>
        <p:grpSpPr>
          <a:xfrm>
            <a:off x="4881651" y="1981444"/>
            <a:ext cx="1448597" cy="1447556"/>
            <a:chOff x="6811876" y="1647187"/>
            <a:chExt cx="1448597" cy="1447556"/>
          </a:xfrm>
          <a:solidFill>
            <a:srgbClr val="CF2330"/>
          </a:solidFill>
        </p:grpSpPr>
        <p:sp>
          <p:nvSpPr>
            <p:cNvPr id="14" name="Rounded Rectangle 13">
              <a:extLst>
                <a:ext uri="{FF2B5EF4-FFF2-40B4-BE49-F238E27FC236}">
                  <a16:creationId xmlns:a16="http://schemas.microsoft.com/office/drawing/2014/main" id="{5721BDD7-D6BA-9649-A6F4-0BD415AF2BBF}"/>
                </a:ext>
              </a:extLst>
            </p:cNvPr>
            <p:cNvSpPr/>
            <p:nvPr/>
          </p:nvSpPr>
          <p:spPr>
            <a:xfrm>
              <a:off x="6811876" y="164718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ounded Rectangle 14">
              <a:extLst>
                <a:ext uri="{FF2B5EF4-FFF2-40B4-BE49-F238E27FC236}">
                  <a16:creationId xmlns:a16="http://schemas.microsoft.com/office/drawing/2014/main" id="{5FD3D976-7A1B-2F46-AA9C-FA3A12C5BBFB}"/>
                </a:ext>
              </a:extLst>
            </p:cNvPr>
            <p:cNvSpPr/>
            <p:nvPr/>
          </p:nvSpPr>
          <p:spPr>
            <a:xfrm>
              <a:off x="7359631" y="164718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ounded Rectangle 15">
              <a:extLst>
                <a:ext uri="{FF2B5EF4-FFF2-40B4-BE49-F238E27FC236}">
                  <a16:creationId xmlns:a16="http://schemas.microsoft.com/office/drawing/2014/main" id="{ABBAC0A5-63D6-614C-8289-4285E5C9A790}"/>
                </a:ext>
              </a:extLst>
            </p:cNvPr>
            <p:cNvSpPr/>
            <p:nvPr/>
          </p:nvSpPr>
          <p:spPr>
            <a:xfrm>
              <a:off x="6811876" y="227445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ounded Rectangle 16">
              <a:extLst>
                <a:ext uri="{FF2B5EF4-FFF2-40B4-BE49-F238E27FC236}">
                  <a16:creationId xmlns:a16="http://schemas.microsoft.com/office/drawing/2014/main" id="{9A6C329C-9F49-674D-BE6B-CD803B5FD671}"/>
                </a:ext>
              </a:extLst>
            </p:cNvPr>
            <p:cNvSpPr/>
            <p:nvPr/>
          </p:nvSpPr>
          <p:spPr>
            <a:xfrm>
              <a:off x="7359631" y="227445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73AA23DE-9635-6412-5B6C-4805B44D61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DE06899-4B4E-2102-66E0-D77B3B40FD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2C58259-AE6E-64AC-051F-5732D61AEEF3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2">
            <a:extLst>
              <a:ext uri="{FF2B5EF4-FFF2-40B4-BE49-F238E27FC236}">
                <a16:creationId xmlns:a16="http://schemas.microsoft.com/office/drawing/2014/main" id="{B52EF902-D983-5F8B-3016-8434C60F7CA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9AE8B7C-8817-1AB6-CFA8-C9FB6B45D8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648284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-Pink">
    <p:bg>
      <p:bgPr>
        <a:solidFill>
          <a:srgbClr val="F57E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4F9CC8-40EA-727F-B4C5-375BA4128C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A986FFF-E5EB-6060-A806-31D3A19291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6241993-9B36-94BA-B100-31BD0F97012C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3CAE09AD-9EF3-5145-CBD6-0B075575190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CA38BE7-9D59-AE99-EAFE-3C7A12321E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245609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School Bus">
    <p:bg>
      <p:bgPr>
        <a:solidFill>
          <a:srgbClr val="F7A3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993E68-347E-3FDE-ED81-6B1A358C1F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32ACC53-AFB8-B50A-5774-291260F45A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78D9F8B-A123-0ABF-BF76-DDAED5EB9697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27B8CB88-27E5-0001-71B8-27C9E8157CC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77752FC-31AC-31FD-3BC7-B921363C30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0540318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Pink">
    <p:bg>
      <p:bgPr>
        <a:solidFill>
          <a:srgbClr val="F8B5B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579E66-55D7-8DB0-F033-35722CC012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EB8F7CF-6101-40E5-0A6D-9349817F165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B403343-90AC-F034-0A23-0078D1BAC4B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3423447F-FBF7-09FD-F74B-F45BAEA269B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074FC0B-E844-EC17-677B-0D8820D63A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067548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New Pink">
    <p:bg>
      <p:bgPr>
        <a:solidFill>
          <a:srgbClr val="FAD2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8EFA60-78F3-8B23-C7C7-E4845471E9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703B7DF-5404-9872-A5D2-95007F07D39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52F7702-2618-9B92-15C3-05C9A7A9CE5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667FDE22-E217-2D1E-77F6-5690AABB8CC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1A10CBB-8EAE-F407-6C3C-B83304AE54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5337312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Lt. Gre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95DEF1-A907-F258-BE12-C59E95BBB7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51DA41C-D0B1-AD27-F710-DDAE323E20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4157273-9671-116E-15A9-34D8FB1836D3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7547D791-D560-6AF4-BA19-3F7D8CDF973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A657A61D-7CAB-5542-B874-288252F399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7798859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Wh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9900189-5AA2-7FD6-A83C-7485413478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2A94F57-B22C-FA69-3F5A-1800DAF8670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24C75A6-0676-0707-2DA0-9F4F2B6E0D42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02B3A761-F93E-768E-678B-6A2853A7982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0B2227A-AB96-E66D-6959-34F64E1FB2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956080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8083581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DA1175B-4997-AD46-A66F-AD54249B30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E7ED1B1-2133-504B-8BC5-FCD9399E99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59F5F042-B335-3A4E-8342-1F0AFC60A39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94C621B4-9BA6-FE43-9C64-9788F9AAAA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0" name="Picture 9" descr="McGraw Hill cube Logo">
            <a:extLst>
              <a:ext uri="{FF2B5EF4-FFF2-40B4-BE49-F238E27FC236}">
                <a16:creationId xmlns:a16="http://schemas.microsoft.com/office/drawing/2014/main" id="{DA944CFB-F2AB-1F4B-A4C9-0C1C0870C60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74501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E0D79D-6B62-1B4E-A21C-A07AA43102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40907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VIOLE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ECD4933-6BE6-E603-C835-4A8D8C7372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1281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D3E3721-D71C-242D-9FAB-F7484EE46E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EF39B048-D0F7-FC99-C35F-01B454D907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9C0D03-7FFE-8DD0-BA3B-5C5C71E1F4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1" name="Picture 30" descr="McGraw Hill red cube Logo">
            <a:extLst>
              <a:ext uri="{FF2B5EF4-FFF2-40B4-BE49-F238E27FC236}">
                <a16:creationId xmlns:a16="http://schemas.microsoft.com/office/drawing/2014/main" id="{EFEC87DA-795E-124E-97B1-9468E0ABC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78582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9754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6792C61-A2E3-D441-8137-CB45AFE0828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DE6919F8-F58F-2A4A-98F5-FDE984CD97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017" y="498906"/>
            <a:ext cx="12183602" cy="5878123"/>
            <a:chOff x="-1017" y="498906"/>
            <a:chExt cx="12183602" cy="5878123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E84A42B3-C875-7246-A333-E68DA98D95DB}"/>
                </a:ext>
              </a:extLst>
            </p:cNvPr>
            <p:cNvGrpSpPr/>
            <p:nvPr userDrawn="1"/>
          </p:nvGrpSpPr>
          <p:grpSpPr>
            <a:xfrm>
              <a:off x="-1017" y="1611038"/>
              <a:ext cx="12183602" cy="4765991"/>
              <a:chOff x="-1017" y="1611038"/>
              <a:chExt cx="12183602" cy="4765991"/>
            </a:xfrm>
          </p:grpSpPr>
          <p:sp>
            <p:nvSpPr>
              <p:cNvPr id="88" name="Rectangle 87">
                <a:extLst>
                  <a:ext uri="{FF2B5EF4-FFF2-40B4-BE49-F238E27FC236}">
                    <a16:creationId xmlns:a16="http://schemas.microsoft.com/office/drawing/2014/main" id="{472291B4-31A1-FC4C-9218-CC71C5ECF3DC}"/>
                  </a:ext>
                </a:extLst>
              </p:cNvPr>
              <p:cNvSpPr/>
              <p:nvPr/>
            </p:nvSpPr>
            <p:spPr>
              <a:xfrm rot="16200000">
                <a:off x="8777293" y="3412639"/>
                <a:ext cx="156191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E9130DD8-37F0-BF47-8443-E9DE9187AB2F}"/>
                  </a:ext>
                </a:extLst>
              </p:cNvPr>
              <p:cNvSpPr/>
              <p:nvPr userDrawn="1"/>
            </p:nvSpPr>
            <p:spPr>
              <a:xfrm rot="16200000">
                <a:off x="8952361" y="3354283"/>
                <a:ext cx="1445206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0CD89C06-927B-1048-857D-F555B58E9E09}"/>
                  </a:ext>
                </a:extLst>
              </p:cNvPr>
              <p:cNvSpPr/>
              <p:nvPr/>
            </p:nvSpPr>
            <p:spPr>
              <a:xfrm rot="18900000">
                <a:off x="9095325" y="1611038"/>
                <a:ext cx="301327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57E0C0AC-9BA1-214B-8145-543EE42ED6E9}"/>
                  </a:ext>
                </a:extLst>
              </p:cNvPr>
              <p:cNvSpPr/>
              <p:nvPr userDrawn="1"/>
            </p:nvSpPr>
            <p:spPr>
              <a:xfrm rot="18900000">
                <a:off x="9227663" y="1672933"/>
                <a:ext cx="2954922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D4538913-9335-E444-BF4E-F794A08ED497}"/>
                  </a:ext>
                </a:extLst>
              </p:cNvPr>
              <p:cNvSpPr/>
              <p:nvPr/>
            </p:nvSpPr>
            <p:spPr>
              <a:xfrm>
                <a:off x="-1017" y="6143607"/>
                <a:ext cx="1172392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2" name="Rectangle 101">
                <a:extLst>
                  <a:ext uri="{FF2B5EF4-FFF2-40B4-BE49-F238E27FC236}">
                    <a16:creationId xmlns:a16="http://schemas.microsoft.com/office/drawing/2014/main" id="{B0E2A164-33EF-A54E-9F2D-524ABD561FD8}"/>
                  </a:ext>
                </a:extLst>
              </p:cNvPr>
              <p:cNvSpPr/>
              <p:nvPr userDrawn="1"/>
            </p:nvSpPr>
            <p:spPr>
              <a:xfrm>
                <a:off x="-1017" y="6260318"/>
                <a:ext cx="1184210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4" name="Rectangle 103">
                <a:extLst>
                  <a:ext uri="{FF2B5EF4-FFF2-40B4-BE49-F238E27FC236}">
                    <a16:creationId xmlns:a16="http://schemas.microsoft.com/office/drawing/2014/main" id="{84A060C7-32C6-3044-9FCC-1367B695FF14}"/>
                  </a:ext>
                </a:extLst>
              </p:cNvPr>
              <p:cNvSpPr/>
              <p:nvPr/>
            </p:nvSpPr>
            <p:spPr>
              <a:xfrm rot="16200000">
                <a:off x="10610640" y="5133287"/>
                <a:ext cx="2112803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5" name="Rectangle 104">
                <a:extLst>
                  <a:ext uri="{FF2B5EF4-FFF2-40B4-BE49-F238E27FC236}">
                    <a16:creationId xmlns:a16="http://schemas.microsoft.com/office/drawing/2014/main" id="{A19BE616-B0FC-664F-8D2F-6A3F97AB1633}"/>
                  </a:ext>
                </a:extLst>
              </p:cNvPr>
              <p:cNvSpPr/>
              <p:nvPr userDrawn="1"/>
            </p:nvSpPr>
            <p:spPr>
              <a:xfrm rot="16200000">
                <a:off x="10604504" y="5139423"/>
                <a:ext cx="2358498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5EF27DDE-4D35-EC48-99B6-93AD172168ED}"/>
                  </a:ext>
                </a:extLst>
              </p:cNvPr>
              <p:cNvSpPr/>
              <p:nvPr/>
            </p:nvSpPr>
            <p:spPr>
              <a:xfrm rot="10800000">
                <a:off x="9509673" y="4135243"/>
                <a:ext cx="221323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8" name="Rectangle 107">
                <a:extLst>
                  <a:ext uri="{FF2B5EF4-FFF2-40B4-BE49-F238E27FC236}">
                    <a16:creationId xmlns:a16="http://schemas.microsoft.com/office/drawing/2014/main" id="{5B9AE42F-8A3D-BD41-8E8C-B03D6F2AABFD}"/>
                  </a:ext>
                </a:extLst>
              </p:cNvPr>
              <p:cNvSpPr/>
              <p:nvPr userDrawn="1"/>
            </p:nvSpPr>
            <p:spPr>
              <a:xfrm rot="10800000">
                <a:off x="9616608" y="4018531"/>
                <a:ext cx="221323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8018B7F2-7545-1A40-8767-8909D3F4819C}"/>
                </a:ext>
              </a:extLst>
            </p:cNvPr>
            <p:cNvGrpSpPr/>
            <p:nvPr userDrawn="1"/>
          </p:nvGrpSpPr>
          <p:grpSpPr>
            <a:xfrm>
              <a:off x="10912844" y="498906"/>
              <a:ext cx="932229" cy="932361"/>
              <a:chOff x="10912844" y="498906"/>
              <a:chExt cx="932229" cy="932361"/>
            </a:xfrm>
          </p:grpSpPr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86F24CA8-7119-C74B-961C-0D182044791D}"/>
                  </a:ext>
                </a:extLst>
              </p:cNvPr>
              <p:cNvGrpSpPr/>
              <p:nvPr userDrawn="1"/>
            </p:nvGrpSpPr>
            <p:grpSpPr>
              <a:xfrm>
                <a:off x="10915811" y="498906"/>
                <a:ext cx="929262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0" name="Parallelogram 39">
                  <a:extLst>
                    <a:ext uri="{FF2B5EF4-FFF2-40B4-BE49-F238E27FC236}">
                      <a16:creationId xmlns:a16="http://schemas.microsoft.com/office/drawing/2014/main" id="{4ECDA969-3B93-0041-8812-9414A9750FCE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1" name="Parallelogram 40">
                  <a:extLst>
                    <a:ext uri="{FF2B5EF4-FFF2-40B4-BE49-F238E27FC236}">
                      <a16:creationId xmlns:a16="http://schemas.microsoft.com/office/drawing/2014/main" id="{CA5C2512-C76D-6E41-8E09-02263D12AC03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7" name="Group 36">
                <a:extLst>
                  <a:ext uri="{FF2B5EF4-FFF2-40B4-BE49-F238E27FC236}">
                    <a16:creationId xmlns:a16="http://schemas.microsoft.com/office/drawing/2014/main" id="{2E6F009D-4DD9-1445-882C-05B6CB71001E}"/>
                  </a:ext>
                </a:extLst>
              </p:cNvPr>
              <p:cNvGrpSpPr/>
              <p:nvPr userDrawn="1"/>
            </p:nvGrpSpPr>
            <p:grpSpPr>
              <a:xfrm>
                <a:off x="10912844" y="609246"/>
                <a:ext cx="823347" cy="822021"/>
                <a:chOff x="3966636" y="2277354"/>
                <a:chExt cx="823347" cy="822021"/>
              </a:xfrm>
              <a:solidFill>
                <a:srgbClr val="E21A23"/>
              </a:solidFill>
            </p:grpSpPr>
            <p:sp>
              <p:nvSpPr>
                <p:cNvPr id="38" name="Parallelogram 61">
                  <a:extLst>
                    <a:ext uri="{FF2B5EF4-FFF2-40B4-BE49-F238E27FC236}">
                      <a16:creationId xmlns:a16="http://schemas.microsoft.com/office/drawing/2014/main" id="{4FF1D96C-C26A-D247-B296-2D1B409294A0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" name="Parallelogram 61">
                  <a:extLst>
                    <a:ext uri="{FF2B5EF4-FFF2-40B4-BE49-F238E27FC236}">
                      <a16:creationId xmlns:a16="http://schemas.microsoft.com/office/drawing/2014/main" id="{5610441A-E740-F54A-80F8-0C5A74DE2B3B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  <p:sp>
        <p:nvSpPr>
          <p:cNvPr id="58" name="Rectangle 57">
            <a:extLst>
              <a:ext uri="{FF2B5EF4-FFF2-40B4-BE49-F238E27FC236}">
                <a16:creationId xmlns:a16="http://schemas.microsoft.com/office/drawing/2014/main" id="{1D270C0A-6D12-D543-BBDC-13F13EEF7D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bg2"/>
          </a:solidFill>
          <a:ln w="9525">
            <a:solidFill>
              <a:srgbClr val="0833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D1AB0CE1-8D6D-7448-B8CE-6354B4485C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chemeClr val="bg2"/>
          </a:solidFill>
          <a:ln w="9525">
            <a:solidFill>
              <a:srgbClr val="0833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62B1EA1F-4CEF-8943-B26B-D2EE7BECA27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3" name="Numeral Date">
            <a:extLst>
              <a:ext uri="{FF2B5EF4-FFF2-40B4-BE49-F238E27FC236}">
                <a16:creationId xmlns:a16="http://schemas.microsoft.com/office/drawing/2014/main" id="{C75370B1-A29C-D045-93FF-A3FF43E45D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44" name="Name &amp; Surname">
            <a:extLst>
              <a:ext uri="{FF2B5EF4-FFF2-40B4-BE49-F238E27FC236}">
                <a16:creationId xmlns:a16="http://schemas.microsoft.com/office/drawing/2014/main" id="{0FC2ACD5-DFC3-DC4A-AD29-579EDAF07FE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60" name="Subtitle">
            <a:extLst>
              <a:ext uri="{FF2B5EF4-FFF2-40B4-BE49-F238E27FC236}">
                <a16:creationId xmlns:a16="http://schemas.microsoft.com/office/drawing/2014/main" id="{360FC992-BC0C-6F41-B636-9B86C8738C2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33" name="Title 2">
            <a:extLst>
              <a:ext uri="{FF2B5EF4-FFF2-40B4-BE49-F238E27FC236}">
                <a16:creationId xmlns:a16="http://schemas.microsoft.com/office/drawing/2014/main" id="{2EA7844D-0BD6-CD4D-8958-F02051CF3E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56" name="Picture 55" descr="McGraw Hill red cube Logo">
            <a:extLst>
              <a:ext uri="{FF2B5EF4-FFF2-40B4-BE49-F238E27FC236}">
                <a16:creationId xmlns:a16="http://schemas.microsoft.com/office/drawing/2014/main" id="{FB8ADFE6-C4A2-E14F-8FFD-6019DBA618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2906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740488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52B30F-DA32-BD48-A150-841D2CC200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C14102-5D1F-CC47-96A6-0F8B125B3B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FE7CC563-C876-8D49-9C67-CE4C3C65E6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30E17DB6-2150-0D46-8340-D3581FF40EC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D5738-B9A4-D446-8B86-A0199FBA6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31A62204-B7CF-0F47-9302-7611750252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C4D93840-F4DD-B843-BC4B-8AF7F98AB0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A2CB17AE-D121-8144-B913-2A0997DF2C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34367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Slide_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op Nav">
            <a:extLst>
              <a:ext uri="{FF2B5EF4-FFF2-40B4-BE49-F238E27FC236}">
                <a16:creationId xmlns:a16="http://schemas.microsoft.com/office/drawing/2014/main" id="{4F65DF74-35BF-374C-8CF0-E5D7AB09DDE3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08C330D-E520-B044-BD7F-823FA39703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625"/>
          <a:stretch/>
        </p:blipFill>
        <p:spPr>
          <a:xfrm>
            <a:off x="0" y="728662"/>
            <a:ext cx="12187066" cy="6129337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84D5301B-133C-564C-A213-9DA092C66D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3499"/>
            <a:ext cx="11851251" cy="5142543"/>
            <a:chOff x="-14169" y="507347"/>
            <a:chExt cx="11851251" cy="514254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3607632-190B-BF46-A15F-419EBA13D38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CC3EE70-2932-9F45-86C4-6EB0FC1208EB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E24F4CF0-1139-A04F-8262-0FA8B4E1A447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rgbClr val="E21A23"/>
            </a:solidFill>
          </p:grpSpPr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E8BB8EE7-4379-1C4F-8C8B-F6CD9F7EE4CF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Parallelogram 19">
                <a:extLst>
                  <a:ext uri="{FF2B5EF4-FFF2-40B4-BE49-F238E27FC236}">
                    <a16:creationId xmlns:a16="http://schemas.microsoft.com/office/drawing/2014/main" id="{B6CF2F0D-211E-1246-B0AC-C15369890DD1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75C03DF-97F8-9846-88BD-3B9E9CAFF73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8AE447BA-E1FE-7549-9DBC-7AACD8913A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92853" y="1433824"/>
            <a:ext cx="2583634" cy="1183772"/>
          </a:xfrm>
          <a:prstGeom prst="rect">
            <a:avLst/>
          </a:prstGeom>
          <a:solidFill>
            <a:srgbClr val="E5E5E5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63F4F9D-236C-FE44-AC73-5145CBDED1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5566" y="2132792"/>
            <a:ext cx="6331352" cy="3515654"/>
          </a:xfrm>
          <a:prstGeom prst="rect">
            <a:avLst/>
          </a:prstGeom>
          <a:solidFill>
            <a:srgbClr val="E5E5E5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pg">
            <a:extLst>
              <a:ext uri="{FF2B5EF4-FFF2-40B4-BE49-F238E27FC236}">
                <a16:creationId xmlns:a16="http://schemas.microsoft.com/office/drawing/2014/main" id="{708BA20F-287E-A64B-B0E2-6A026B4332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Copy 2">
            <a:extLst>
              <a:ext uri="{FF2B5EF4-FFF2-40B4-BE49-F238E27FC236}">
                <a16:creationId xmlns:a16="http://schemas.microsoft.com/office/drawing/2014/main" id="{2C589809-6889-304F-BCFD-CB64BE2997D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336363" y="510292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</a:p>
        </p:txBody>
      </p:sp>
      <p:sp>
        <p:nvSpPr>
          <p:cNvPr id="50" name="Copy 2">
            <a:extLst>
              <a:ext uri="{FF2B5EF4-FFF2-40B4-BE49-F238E27FC236}">
                <a16:creationId xmlns:a16="http://schemas.microsoft.com/office/drawing/2014/main" id="{771E4932-0E80-7849-8F31-59BE3850714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727915" y="510682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qu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li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isi</a:t>
            </a:r>
          </a:p>
        </p:txBody>
      </p:sp>
      <p:sp>
        <p:nvSpPr>
          <p:cNvPr id="47" name="Copy 2">
            <a:extLst>
              <a:ext uri="{FF2B5EF4-FFF2-40B4-BE49-F238E27FC236}">
                <a16:creationId xmlns:a16="http://schemas.microsoft.com/office/drawing/2014/main" id="{E74A92CB-3D2E-0446-A274-2F2CAA31601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36363" y="443370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9-12</a:t>
            </a:r>
          </a:p>
        </p:txBody>
      </p:sp>
      <p:sp>
        <p:nvSpPr>
          <p:cNvPr id="46" name="Copy 2">
            <a:extLst>
              <a:ext uri="{FF2B5EF4-FFF2-40B4-BE49-F238E27FC236}">
                <a16:creationId xmlns:a16="http://schemas.microsoft.com/office/drawing/2014/main" id="{1895650C-4BDD-2C4A-B540-9EC7AF02BBF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727915" y="443759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Copy 2">
            <a:extLst>
              <a:ext uri="{FF2B5EF4-FFF2-40B4-BE49-F238E27FC236}">
                <a16:creationId xmlns:a16="http://schemas.microsoft.com/office/drawing/2014/main" id="{83FC4E0C-81D0-2843-AF35-C8972AD081A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336363" y="374767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5-08</a:t>
            </a:r>
          </a:p>
        </p:txBody>
      </p:sp>
      <p:sp>
        <p:nvSpPr>
          <p:cNvPr id="44" name="Copy 2">
            <a:extLst>
              <a:ext uri="{FF2B5EF4-FFF2-40B4-BE49-F238E27FC236}">
                <a16:creationId xmlns:a16="http://schemas.microsoft.com/office/drawing/2014/main" id="{4ECEB2AE-9816-3A4C-938A-3042348F0EE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727915" y="375156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Copy 2">
            <a:extLst>
              <a:ext uri="{FF2B5EF4-FFF2-40B4-BE49-F238E27FC236}">
                <a16:creationId xmlns:a16="http://schemas.microsoft.com/office/drawing/2014/main" id="{0538509E-84DE-5B48-9C6C-F12FEB805CE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36363" y="303405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2-04</a:t>
            </a:r>
          </a:p>
        </p:txBody>
      </p:sp>
      <p:sp>
        <p:nvSpPr>
          <p:cNvPr id="40" name="Copy 2">
            <a:extLst>
              <a:ext uri="{FF2B5EF4-FFF2-40B4-BE49-F238E27FC236}">
                <a16:creationId xmlns:a16="http://schemas.microsoft.com/office/drawing/2014/main" id="{230F3435-ED54-634F-BEC4-8BA3E46EEE2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27915" y="303795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ec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lesuad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Copy 2">
            <a:extLst>
              <a:ext uri="{FF2B5EF4-FFF2-40B4-BE49-F238E27FC236}">
                <a16:creationId xmlns:a16="http://schemas.microsoft.com/office/drawing/2014/main" id="{3832C629-D010-424E-8A08-13B90033315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36363" y="2336428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36" name="Copy 2">
            <a:extLst>
              <a:ext uri="{FF2B5EF4-FFF2-40B4-BE49-F238E27FC236}">
                <a16:creationId xmlns:a16="http://schemas.microsoft.com/office/drawing/2014/main" id="{D446FFD1-F5A6-7C4B-B3E0-9B8AF09F110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27915" y="2340322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</a:t>
            </a:r>
          </a:p>
        </p:txBody>
      </p:sp>
      <p:sp>
        <p:nvSpPr>
          <p:cNvPr id="52" name="Subtitle">
            <a:extLst>
              <a:ext uri="{FF2B5EF4-FFF2-40B4-BE49-F238E27FC236}">
                <a16:creationId xmlns:a16="http://schemas.microsoft.com/office/drawing/2014/main" id="{409D71C9-875A-1A4D-8CAB-D768AA686F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76028" y="2021714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9D511974-7E30-5F48-9610-8BB584FB3B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6028" y="1648584"/>
            <a:ext cx="2190520" cy="332905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endParaRPr lang="en-US"/>
          </a:p>
        </p:txBody>
      </p:sp>
      <p:sp>
        <p:nvSpPr>
          <p:cNvPr id="26" name="Chapter Title">
            <a:extLst>
              <a:ext uri="{FF2B5EF4-FFF2-40B4-BE49-F238E27FC236}">
                <a16:creationId xmlns:a16="http://schemas.microsoft.com/office/drawing/2014/main" id="{76329F06-79E5-9746-AFE7-EEB9368217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31695" y="323151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57D0B80-12FD-454F-BA40-B491810A45CD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3185277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Slides_No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op Nav">
            <a:extLst>
              <a:ext uri="{FF2B5EF4-FFF2-40B4-BE49-F238E27FC236}">
                <a16:creationId xmlns:a16="http://schemas.microsoft.com/office/drawing/2014/main" id="{4F65DF74-35BF-374C-8CF0-E5D7AB09DD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9539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4D5301B-133C-564C-A213-9DA092C66D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3499"/>
            <a:ext cx="11851251" cy="5142543"/>
            <a:chOff x="-14169" y="507347"/>
            <a:chExt cx="11851251" cy="514254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3607632-190B-BF46-A15F-419EBA13D38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CC3EE70-2932-9F45-86C4-6EB0FC1208EB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E24F4CF0-1139-A04F-8262-0FA8B4E1A447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rgbClr val="E21A23"/>
            </a:solidFill>
          </p:grpSpPr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E8BB8EE7-4379-1C4F-8C8B-F6CD9F7EE4CF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Parallelogram 19">
                <a:extLst>
                  <a:ext uri="{FF2B5EF4-FFF2-40B4-BE49-F238E27FC236}">
                    <a16:creationId xmlns:a16="http://schemas.microsoft.com/office/drawing/2014/main" id="{B6CF2F0D-211E-1246-B0AC-C15369890DD1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75C03DF-97F8-9846-88BD-3B9E9CAFF73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Pg">
            <a:extLst>
              <a:ext uri="{FF2B5EF4-FFF2-40B4-BE49-F238E27FC236}">
                <a16:creationId xmlns:a16="http://schemas.microsoft.com/office/drawing/2014/main" id="{86BE882A-7C95-DB46-BB47-D80D783466A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Copy 2">
            <a:extLst>
              <a:ext uri="{FF2B5EF4-FFF2-40B4-BE49-F238E27FC236}">
                <a16:creationId xmlns:a16="http://schemas.microsoft.com/office/drawing/2014/main" id="{8E79F517-E97A-2748-BB37-5253B0C35F4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336363" y="510292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</a:p>
        </p:txBody>
      </p:sp>
      <p:sp>
        <p:nvSpPr>
          <p:cNvPr id="54" name="Copy 2">
            <a:extLst>
              <a:ext uri="{FF2B5EF4-FFF2-40B4-BE49-F238E27FC236}">
                <a16:creationId xmlns:a16="http://schemas.microsoft.com/office/drawing/2014/main" id="{3B8A7439-D821-E74D-A59D-0A056B5D0A5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727915" y="510682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qu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li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isi</a:t>
            </a:r>
          </a:p>
        </p:txBody>
      </p:sp>
      <p:sp>
        <p:nvSpPr>
          <p:cNvPr id="53" name="Copy 2">
            <a:extLst>
              <a:ext uri="{FF2B5EF4-FFF2-40B4-BE49-F238E27FC236}">
                <a16:creationId xmlns:a16="http://schemas.microsoft.com/office/drawing/2014/main" id="{31B6FA48-16DD-004A-9464-40670B70092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36363" y="443370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9-12</a:t>
            </a:r>
          </a:p>
        </p:txBody>
      </p:sp>
      <p:sp>
        <p:nvSpPr>
          <p:cNvPr id="52" name="Copy 2">
            <a:extLst>
              <a:ext uri="{FF2B5EF4-FFF2-40B4-BE49-F238E27FC236}">
                <a16:creationId xmlns:a16="http://schemas.microsoft.com/office/drawing/2014/main" id="{265B6FF0-F656-0B43-B8D5-E437272BE50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727915" y="443759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Copy 2">
            <a:extLst>
              <a:ext uri="{FF2B5EF4-FFF2-40B4-BE49-F238E27FC236}">
                <a16:creationId xmlns:a16="http://schemas.microsoft.com/office/drawing/2014/main" id="{96FFBA0B-358D-D141-BE91-646C0B1AD23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336363" y="374767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5-08</a:t>
            </a:r>
          </a:p>
        </p:txBody>
      </p:sp>
      <p:sp>
        <p:nvSpPr>
          <p:cNvPr id="50" name="Copy 2">
            <a:extLst>
              <a:ext uri="{FF2B5EF4-FFF2-40B4-BE49-F238E27FC236}">
                <a16:creationId xmlns:a16="http://schemas.microsoft.com/office/drawing/2014/main" id="{8E55FD44-AA75-3240-B10E-45B18867F87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727915" y="375156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Copy 2">
            <a:extLst>
              <a:ext uri="{FF2B5EF4-FFF2-40B4-BE49-F238E27FC236}">
                <a16:creationId xmlns:a16="http://schemas.microsoft.com/office/drawing/2014/main" id="{F33E9590-2B13-C240-8A3F-C37F5BF0FA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36363" y="303405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2-04</a:t>
            </a:r>
          </a:p>
        </p:txBody>
      </p:sp>
      <p:sp>
        <p:nvSpPr>
          <p:cNvPr id="48" name="Copy 2">
            <a:extLst>
              <a:ext uri="{FF2B5EF4-FFF2-40B4-BE49-F238E27FC236}">
                <a16:creationId xmlns:a16="http://schemas.microsoft.com/office/drawing/2014/main" id="{45AB5212-6841-5641-A6E9-2439AD1F5E7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27915" y="303795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ec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lesuad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Copy 2">
            <a:extLst>
              <a:ext uri="{FF2B5EF4-FFF2-40B4-BE49-F238E27FC236}">
                <a16:creationId xmlns:a16="http://schemas.microsoft.com/office/drawing/2014/main" id="{69222BC1-7ACE-A845-B5C4-562B12BD884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36363" y="2336428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46" name="Copy 2">
            <a:extLst>
              <a:ext uri="{FF2B5EF4-FFF2-40B4-BE49-F238E27FC236}">
                <a16:creationId xmlns:a16="http://schemas.microsoft.com/office/drawing/2014/main" id="{FFB5E7A5-06FF-8E41-A206-8FE0483CFA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27915" y="2340322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</a:t>
            </a:r>
          </a:p>
        </p:txBody>
      </p:sp>
      <p:sp>
        <p:nvSpPr>
          <p:cNvPr id="45" name="Subtitle">
            <a:extLst>
              <a:ext uri="{FF2B5EF4-FFF2-40B4-BE49-F238E27FC236}">
                <a16:creationId xmlns:a16="http://schemas.microsoft.com/office/drawing/2014/main" id="{E6A78EA7-0D45-D84E-9603-8D69EB853F0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9052" y="2023690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ADCA9C4C-4F7B-8F4F-A1CD-CFC62E52FC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4118751" cy="332905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2" name="Chapter Title">
            <a:extLst>
              <a:ext uri="{FF2B5EF4-FFF2-40B4-BE49-F238E27FC236}">
                <a16:creationId xmlns:a16="http://schemas.microsoft.com/office/drawing/2014/main" id="{A3C8596E-EA5D-684C-8A87-6E61DFA8A6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31695" y="323151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Chap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E84DAE-CB25-CA46-92DA-96F9B98F3A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418133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140FAE7B-C969-EA4C-B018-E010BFDDB33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69" name="Group 68">
            <a:extLst>
              <a:ext uri="{FF2B5EF4-FFF2-40B4-BE49-F238E27FC236}">
                <a16:creationId xmlns:a16="http://schemas.microsoft.com/office/drawing/2014/main" id="{88B37A11-A451-B14A-A613-5DC98C2A30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506002"/>
            <a:ext cx="11897228" cy="5350534"/>
            <a:chOff x="0" y="498906"/>
            <a:chExt cx="11897228" cy="5350534"/>
          </a:xfrm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A51B0339-C2E6-3143-B244-BD4D1E18126D}"/>
                </a:ext>
              </a:extLst>
            </p:cNvPr>
            <p:cNvSpPr/>
            <p:nvPr userDrawn="1"/>
          </p:nvSpPr>
          <p:spPr>
            <a:xfrm rot="18900000">
              <a:off x="10798542" y="892842"/>
              <a:ext cx="1017836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C129491A-35D4-A84B-9565-87CDF183DA99}"/>
                </a:ext>
              </a:extLst>
            </p:cNvPr>
            <p:cNvSpPr/>
            <p:nvPr userDrawn="1"/>
          </p:nvSpPr>
          <p:spPr>
            <a:xfrm rot="18900000">
              <a:off x="10890847" y="974494"/>
              <a:ext cx="1006381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E0E98AE8-8411-B84B-8292-638139043AC5}"/>
                </a:ext>
              </a:extLst>
            </p:cNvPr>
            <p:cNvGrpSpPr/>
            <p:nvPr userDrawn="1"/>
          </p:nvGrpSpPr>
          <p:grpSpPr>
            <a:xfrm>
              <a:off x="10905053" y="498906"/>
              <a:ext cx="929262" cy="929262"/>
              <a:chOff x="3969603" y="2167014"/>
              <a:chExt cx="929262" cy="929262"/>
            </a:xfrm>
            <a:solidFill>
              <a:srgbClr val="E3B9FC"/>
            </a:solidFill>
          </p:grpSpPr>
          <p:sp>
            <p:nvSpPr>
              <p:cNvPr id="84" name="Parallelogram 83">
                <a:extLst>
                  <a:ext uri="{FF2B5EF4-FFF2-40B4-BE49-F238E27FC236}">
                    <a16:creationId xmlns:a16="http://schemas.microsoft.com/office/drawing/2014/main" id="{DC41989C-E26D-6442-B3CA-B5B0F28175A6}"/>
                  </a:ext>
                </a:extLst>
              </p:cNvPr>
              <p:cNvSpPr/>
              <p:nvPr userDrawn="1"/>
            </p:nvSpPr>
            <p:spPr>
              <a:xfrm>
                <a:off x="3969603" y="2168473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Parallelogram 84">
                <a:extLst>
                  <a:ext uri="{FF2B5EF4-FFF2-40B4-BE49-F238E27FC236}">
                    <a16:creationId xmlns:a16="http://schemas.microsoft.com/office/drawing/2014/main" id="{AB6243CF-39D2-D048-B28C-C3914962E629}"/>
                  </a:ext>
                </a:extLst>
              </p:cNvPr>
              <p:cNvSpPr/>
              <p:nvPr userDrawn="1"/>
            </p:nvSpPr>
            <p:spPr>
              <a:xfrm rot="5400000" flipH="1">
                <a:off x="4321438" y="2518849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4EA953C2-A653-0845-9DC2-36DE9B037A96}"/>
                </a:ext>
              </a:extLst>
            </p:cNvPr>
            <p:cNvGrpSpPr/>
            <p:nvPr userDrawn="1"/>
          </p:nvGrpSpPr>
          <p:grpSpPr>
            <a:xfrm>
              <a:off x="10902086" y="612832"/>
              <a:ext cx="823347" cy="822021"/>
              <a:chOff x="3966636" y="2277354"/>
              <a:chExt cx="823347" cy="822021"/>
            </a:xfrm>
            <a:solidFill>
              <a:srgbClr val="06235B"/>
            </a:solidFill>
          </p:grpSpPr>
          <p:sp>
            <p:nvSpPr>
              <p:cNvPr id="82" name="Parallelogram 61">
                <a:extLst>
                  <a:ext uri="{FF2B5EF4-FFF2-40B4-BE49-F238E27FC236}">
                    <a16:creationId xmlns:a16="http://schemas.microsoft.com/office/drawing/2014/main" id="{9C6D802B-1C1B-2448-A369-EA4FB3078951}"/>
                  </a:ext>
                </a:extLst>
              </p:cNvPr>
              <p:cNvSpPr/>
              <p:nvPr userDrawn="1"/>
            </p:nvSpPr>
            <p:spPr>
              <a:xfrm>
                <a:off x="3966636" y="2277354"/>
                <a:ext cx="821312" cy="119886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19886">
                    <a:moveTo>
                      <a:pt x="0" y="119886"/>
                    </a:moveTo>
                    <a:lnTo>
                      <a:pt x="112441" y="3175"/>
                    </a:lnTo>
                    <a:lnTo>
                      <a:pt x="821312" y="0"/>
                    </a:lnTo>
                    <a:lnTo>
                      <a:pt x="708871" y="116711"/>
                    </a:lnTo>
                    <a:lnTo>
                      <a:pt x="0" y="11988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" name="Parallelogram 61">
                <a:extLst>
                  <a:ext uri="{FF2B5EF4-FFF2-40B4-BE49-F238E27FC236}">
                    <a16:creationId xmlns:a16="http://schemas.microsoft.com/office/drawing/2014/main" id="{EDEDF0C9-1B0B-7D40-9C60-92AD32713352}"/>
                  </a:ext>
                </a:extLst>
              </p:cNvPr>
              <p:cNvSpPr/>
              <p:nvPr userDrawn="1"/>
            </p:nvSpPr>
            <p:spPr>
              <a:xfrm rot="16200000" flipH="1">
                <a:off x="4317797" y="2627188"/>
                <a:ext cx="821312" cy="123061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8791 w 821312"/>
                  <a:gd name="connsiteY1" fmla="*/ 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23061 h 123061"/>
                  <a:gd name="connsiteX1" fmla="*/ 64816 w 821312"/>
                  <a:gd name="connsiteY1" fmla="*/ 0 h 123061"/>
                  <a:gd name="connsiteX2" fmla="*/ 821312 w 821312"/>
                  <a:gd name="connsiteY2" fmla="*/ 3175 h 123061"/>
                  <a:gd name="connsiteX3" fmla="*/ 708871 w 821312"/>
                  <a:gd name="connsiteY3" fmla="*/ 119886 h 123061"/>
                  <a:gd name="connsiteX4" fmla="*/ 0 w 821312"/>
                  <a:gd name="connsiteY4" fmla="*/ 123061 h 12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23061">
                    <a:moveTo>
                      <a:pt x="0" y="123061"/>
                    </a:moveTo>
                    <a:lnTo>
                      <a:pt x="64816" y="0"/>
                    </a:lnTo>
                    <a:lnTo>
                      <a:pt x="821312" y="3175"/>
                    </a:lnTo>
                    <a:lnTo>
                      <a:pt x="708871" y="119886"/>
                    </a:lnTo>
                    <a:lnTo>
                      <a:pt x="0" y="12306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C9203BDD-F085-D54C-9B92-5D89770BA44F}"/>
                </a:ext>
              </a:extLst>
            </p:cNvPr>
            <p:cNvSpPr/>
            <p:nvPr userDrawn="1"/>
          </p:nvSpPr>
          <p:spPr>
            <a:xfrm rot="16200000">
              <a:off x="10612440" y="1560289"/>
              <a:ext cx="693781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261CD1B2-8A88-4D4D-8EE9-356040E2B5C3}"/>
                </a:ext>
              </a:extLst>
            </p:cNvPr>
            <p:cNvSpPr/>
            <p:nvPr userDrawn="1"/>
          </p:nvSpPr>
          <p:spPr>
            <a:xfrm>
              <a:off x="0" y="5616018"/>
              <a:ext cx="4524277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E9B532A4-72CD-B24F-BE9E-7E6C3538E514}"/>
                </a:ext>
              </a:extLst>
            </p:cNvPr>
            <p:cNvSpPr/>
            <p:nvPr userDrawn="1"/>
          </p:nvSpPr>
          <p:spPr>
            <a:xfrm>
              <a:off x="0" y="5732729"/>
              <a:ext cx="4524277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80D230A1-DF77-DC4E-9A42-EEC7C5D67993}"/>
                </a:ext>
              </a:extLst>
            </p:cNvPr>
            <p:cNvSpPr/>
            <p:nvPr userDrawn="1"/>
          </p:nvSpPr>
          <p:spPr>
            <a:xfrm rot="16200000">
              <a:off x="2357684" y="3679671"/>
              <a:ext cx="3983056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395FC387-B840-D144-9C0C-7CED914FF8A8}"/>
                </a:ext>
              </a:extLst>
            </p:cNvPr>
            <p:cNvSpPr/>
            <p:nvPr userDrawn="1"/>
          </p:nvSpPr>
          <p:spPr>
            <a:xfrm rot="16200000">
              <a:off x="2417629" y="3736438"/>
              <a:ext cx="409658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15891EC6-CDBE-7B4D-8AD8-65999404C3DF}"/>
                </a:ext>
              </a:extLst>
            </p:cNvPr>
            <p:cNvSpPr/>
            <p:nvPr userDrawn="1"/>
          </p:nvSpPr>
          <p:spPr>
            <a:xfrm>
              <a:off x="4290855" y="1746499"/>
              <a:ext cx="6843541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07E0216E-0E5D-5D4F-BB4E-47134EF5BCA0}"/>
                </a:ext>
              </a:extLst>
            </p:cNvPr>
            <p:cNvSpPr/>
            <p:nvPr userDrawn="1"/>
          </p:nvSpPr>
          <p:spPr>
            <a:xfrm>
              <a:off x="4440730" y="1863210"/>
              <a:ext cx="668130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FAB71DA5-CF63-FE4F-AE8F-D72A2684966E}"/>
                </a:ext>
              </a:extLst>
            </p:cNvPr>
            <p:cNvSpPr/>
            <p:nvPr userDrawn="1"/>
          </p:nvSpPr>
          <p:spPr>
            <a:xfrm rot="16200000">
              <a:off x="10778958" y="1603747"/>
              <a:ext cx="594165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0" name="Rectangle 89">
            <a:extLst>
              <a:ext uri="{FF2B5EF4-FFF2-40B4-BE49-F238E27FC236}">
                <a16:creationId xmlns:a16="http://schemas.microsoft.com/office/drawing/2014/main" id="{07ADE1EB-1CB5-2346-AF61-868FF2D41E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71563"/>
            <a:ext cx="7667723" cy="38724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25" name="Pg number">
            <a:extLst>
              <a:ext uri="{FF2B5EF4-FFF2-40B4-BE49-F238E27FC236}">
                <a16:creationId xmlns:a16="http://schemas.microsoft.com/office/drawing/2014/main" id="{0C8CE0BD-720A-0A41-BFD2-D138577FC5D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ubtitle">
            <a:extLst>
              <a:ext uri="{FF2B5EF4-FFF2-40B4-BE49-F238E27FC236}">
                <a16:creationId xmlns:a16="http://schemas.microsoft.com/office/drawing/2014/main" id="{C1F4978B-3695-7A4D-B017-E81591AFC0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34B8769-635F-D74F-ABA7-7F04BF619A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0" name="Picture 29" descr="McGraw Hill cube Logo">
            <a:extLst>
              <a:ext uri="{FF2B5EF4-FFF2-40B4-BE49-F238E27FC236}">
                <a16:creationId xmlns:a16="http://schemas.microsoft.com/office/drawing/2014/main" id="{FEAEE38D-F776-C54D-998E-34EC9E04A1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6756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044F715-949A-4B0A-5E61-32B593168FA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69" name="Group 68">
            <a:extLst>
              <a:ext uri="{FF2B5EF4-FFF2-40B4-BE49-F238E27FC236}">
                <a16:creationId xmlns:a16="http://schemas.microsoft.com/office/drawing/2014/main" id="{88B37A11-A451-B14A-A613-5DC98C2A30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506002"/>
            <a:ext cx="11897228" cy="5350534"/>
            <a:chOff x="0" y="498906"/>
            <a:chExt cx="11897228" cy="5350534"/>
          </a:xfrm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A51B0339-C2E6-3143-B244-BD4D1E18126D}"/>
                </a:ext>
              </a:extLst>
            </p:cNvPr>
            <p:cNvSpPr/>
            <p:nvPr userDrawn="1"/>
          </p:nvSpPr>
          <p:spPr>
            <a:xfrm rot="18900000">
              <a:off x="10798542" y="892842"/>
              <a:ext cx="1017836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C129491A-35D4-A84B-9565-87CDF183DA99}"/>
                </a:ext>
              </a:extLst>
            </p:cNvPr>
            <p:cNvSpPr/>
            <p:nvPr userDrawn="1"/>
          </p:nvSpPr>
          <p:spPr>
            <a:xfrm rot="18900000">
              <a:off x="10890847" y="974494"/>
              <a:ext cx="1006381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E0E98AE8-8411-B84B-8292-638139043AC5}"/>
                </a:ext>
              </a:extLst>
            </p:cNvPr>
            <p:cNvGrpSpPr/>
            <p:nvPr userDrawn="1"/>
          </p:nvGrpSpPr>
          <p:grpSpPr>
            <a:xfrm>
              <a:off x="10905053" y="498906"/>
              <a:ext cx="929262" cy="929262"/>
              <a:chOff x="3969603" y="2167014"/>
              <a:chExt cx="929262" cy="929262"/>
            </a:xfrm>
            <a:solidFill>
              <a:srgbClr val="E3B9FC"/>
            </a:solidFill>
          </p:grpSpPr>
          <p:sp>
            <p:nvSpPr>
              <p:cNvPr id="84" name="Parallelogram 83">
                <a:extLst>
                  <a:ext uri="{FF2B5EF4-FFF2-40B4-BE49-F238E27FC236}">
                    <a16:creationId xmlns:a16="http://schemas.microsoft.com/office/drawing/2014/main" id="{DC41989C-E26D-6442-B3CA-B5B0F28175A6}"/>
                  </a:ext>
                </a:extLst>
              </p:cNvPr>
              <p:cNvSpPr/>
              <p:nvPr userDrawn="1"/>
            </p:nvSpPr>
            <p:spPr>
              <a:xfrm>
                <a:off x="3969603" y="2168473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Parallelogram 84">
                <a:extLst>
                  <a:ext uri="{FF2B5EF4-FFF2-40B4-BE49-F238E27FC236}">
                    <a16:creationId xmlns:a16="http://schemas.microsoft.com/office/drawing/2014/main" id="{AB6243CF-39D2-D048-B28C-C3914962E629}"/>
                  </a:ext>
                </a:extLst>
              </p:cNvPr>
              <p:cNvSpPr/>
              <p:nvPr userDrawn="1"/>
            </p:nvSpPr>
            <p:spPr>
              <a:xfrm rot="5400000" flipH="1">
                <a:off x="4321438" y="2518849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4EA953C2-A653-0845-9DC2-36DE9B037A96}"/>
                </a:ext>
              </a:extLst>
            </p:cNvPr>
            <p:cNvGrpSpPr/>
            <p:nvPr userDrawn="1"/>
          </p:nvGrpSpPr>
          <p:grpSpPr>
            <a:xfrm>
              <a:off x="10902086" y="612832"/>
              <a:ext cx="823347" cy="822021"/>
              <a:chOff x="3966636" y="2277354"/>
              <a:chExt cx="823347" cy="822021"/>
            </a:xfrm>
            <a:solidFill>
              <a:srgbClr val="06235B"/>
            </a:solidFill>
          </p:grpSpPr>
          <p:sp>
            <p:nvSpPr>
              <p:cNvPr id="82" name="Parallelogram 61">
                <a:extLst>
                  <a:ext uri="{FF2B5EF4-FFF2-40B4-BE49-F238E27FC236}">
                    <a16:creationId xmlns:a16="http://schemas.microsoft.com/office/drawing/2014/main" id="{9C6D802B-1C1B-2448-A369-EA4FB3078951}"/>
                  </a:ext>
                </a:extLst>
              </p:cNvPr>
              <p:cNvSpPr/>
              <p:nvPr userDrawn="1"/>
            </p:nvSpPr>
            <p:spPr>
              <a:xfrm>
                <a:off x="3966636" y="2277354"/>
                <a:ext cx="821312" cy="119886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19886">
                    <a:moveTo>
                      <a:pt x="0" y="119886"/>
                    </a:moveTo>
                    <a:lnTo>
                      <a:pt x="112441" y="3175"/>
                    </a:lnTo>
                    <a:lnTo>
                      <a:pt x="821312" y="0"/>
                    </a:lnTo>
                    <a:lnTo>
                      <a:pt x="708871" y="116711"/>
                    </a:lnTo>
                    <a:lnTo>
                      <a:pt x="0" y="119886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" name="Parallelogram 61">
                <a:extLst>
                  <a:ext uri="{FF2B5EF4-FFF2-40B4-BE49-F238E27FC236}">
                    <a16:creationId xmlns:a16="http://schemas.microsoft.com/office/drawing/2014/main" id="{EDEDF0C9-1B0B-7D40-9C60-92AD32713352}"/>
                  </a:ext>
                </a:extLst>
              </p:cNvPr>
              <p:cNvSpPr/>
              <p:nvPr userDrawn="1"/>
            </p:nvSpPr>
            <p:spPr>
              <a:xfrm rot="16200000" flipH="1">
                <a:off x="4317797" y="2627188"/>
                <a:ext cx="821312" cy="123061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8791 w 821312"/>
                  <a:gd name="connsiteY1" fmla="*/ 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23061 h 123061"/>
                  <a:gd name="connsiteX1" fmla="*/ 64816 w 821312"/>
                  <a:gd name="connsiteY1" fmla="*/ 0 h 123061"/>
                  <a:gd name="connsiteX2" fmla="*/ 821312 w 821312"/>
                  <a:gd name="connsiteY2" fmla="*/ 3175 h 123061"/>
                  <a:gd name="connsiteX3" fmla="*/ 708871 w 821312"/>
                  <a:gd name="connsiteY3" fmla="*/ 119886 h 123061"/>
                  <a:gd name="connsiteX4" fmla="*/ 0 w 821312"/>
                  <a:gd name="connsiteY4" fmla="*/ 123061 h 12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23061">
                    <a:moveTo>
                      <a:pt x="0" y="123061"/>
                    </a:moveTo>
                    <a:lnTo>
                      <a:pt x="64816" y="0"/>
                    </a:lnTo>
                    <a:lnTo>
                      <a:pt x="821312" y="3175"/>
                    </a:lnTo>
                    <a:lnTo>
                      <a:pt x="708871" y="119886"/>
                    </a:lnTo>
                    <a:lnTo>
                      <a:pt x="0" y="12306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C9203BDD-F085-D54C-9B92-5D89770BA44F}"/>
                </a:ext>
              </a:extLst>
            </p:cNvPr>
            <p:cNvSpPr/>
            <p:nvPr userDrawn="1"/>
          </p:nvSpPr>
          <p:spPr>
            <a:xfrm rot="16200000">
              <a:off x="10612440" y="1560289"/>
              <a:ext cx="693781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261CD1B2-8A88-4D4D-8EE9-356040E2B5C3}"/>
                </a:ext>
              </a:extLst>
            </p:cNvPr>
            <p:cNvSpPr/>
            <p:nvPr userDrawn="1"/>
          </p:nvSpPr>
          <p:spPr>
            <a:xfrm>
              <a:off x="0" y="5616018"/>
              <a:ext cx="4524277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E9B532A4-72CD-B24F-BE9E-7E6C3538E514}"/>
                </a:ext>
              </a:extLst>
            </p:cNvPr>
            <p:cNvSpPr/>
            <p:nvPr userDrawn="1"/>
          </p:nvSpPr>
          <p:spPr>
            <a:xfrm>
              <a:off x="0" y="5732729"/>
              <a:ext cx="4524277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80D230A1-DF77-DC4E-9A42-EEC7C5D67993}"/>
                </a:ext>
              </a:extLst>
            </p:cNvPr>
            <p:cNvSpPr/>
            <p:nvPr userDrawn="1"/>
          </p:nvSpPr>
          <p:spPr>
            <a:xfrm rot="16200000">
              <a:off x="2357684" y="3679671"/>
              <a:ext cx="3983056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395FC387-B840-D144-9C0C-7CED914FF8A8}"/>
                </a:ext>
              </a:extLst>
            </p:cNvPr>
            <p:cNvSpPr/>
            <p:nvPr userDrawn="1"/>
          </p:nvSpPr>
          <p:spPr>
            <a:xfrm rot="16200000">
              <a:off x="2417629" y="3736438"/>
              <a:ext cx="409658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15891EC6-CDBE-7B4D-8AD8-65999404C3DF}"/>
                </a:ext>
              </a:extLst>
            </p:cNvPr>
            <p:cNvSpPr/>
            <p:nvPr userDrawn="1"/>
          </p:nvSpPr>
          <p:spPr>
            <a:xfrm>
              <a:off x="4290855" y="1746499"/>
              <a:ext cx="6843541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07E0216E-0E5D-5D4F-BB4E-47134EF5BCA0}"/>
                </a:ext>
              </a:extLst>
            </p:cNvPr>
            <p:cNvSpPr/>
            <p:nvPr userDrawn="1"/>
          </p:nvSpPr>
          <p:spPr>
            <a:xfrm>
              <a:off x="4440730" y="1863210"/>
              <a:ext cx="668130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FAB71DA5-CF63-FE4F-AE8F-D72A2684966E}"/>
                </a:ext>
              </a:extLst>
            </p:cNvPr>
            <p:cNvSpPr/>
            <p:nvPr userDrawn="1"/>
          </p:nvSpPr>
          <p:spPr>
            <a:xfrm rot="16200000">
              <a:off x="10778958" y="1603747"/>
              <a:ext cx="594165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0" name="Rectangle 89">
            <a:extLst>
              <a:ext uri="{FF2B5EF4-FFF2-40B4-BE49-F238E27FC236}">
                <a16:creationId xmlns:a16="http://schemas.microsoft.com/office/drawing/2014/main" id="{07ADE1EB-1CB5-2346-AF61-868FF2D41E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71563"/>
            <a:ext cx="7667723" cy="38724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25" name="Pg number">
            <a:extLst>
              <a:ext uri="{FF2B5EF4-FFF2-40B4-BE49-F238E27FC236}">
                <a16:creationId xmlns:a16="http://schemas.microsoft.com/office/drawing/2014/main" id="{0C8CE0BD-720A-0A41-BFD2-D138577FC5D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ubtitle">
            <a:extLst>
              <a:ext uri="{FF2B5EF4-FFF2-40B4-BE49-F238E27FC236}">
                <a16:creationId xmlns:a16="http://schemas.microsoft.com/office/drawing/2014/main" id="{C1F4978B-3695-7A4D-B017-E81591AFC0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34B8769-635F-D74F-ABA7-7F04BF619A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2" name="Picture 1" descr="McGraw Hill red cube Logo">
            <a:extLst>
              <a:ext uri="{FF2B5EF4-FFF2-40B4-BE49-F238E27FC236}">
                <a16:creationId xmlns:a16="http://schemas.microsoft.com/office/drawing/2014/main" id="{624423C3-3CC8-6B32-9362-91ED190AD48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2162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FD39785A-557E-E14B-A935-CDBDBDD4CDA3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E37CF15-892E-7F49-AF0C-7BE439FF32C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0838D3D7-DCCD-8346-A433-F53F64323D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84089"/>
            <a:ext cx="7667723" cy="387244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A0E26DE9-E717-A84D-B0C4-9053EBE19F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19649"/>
            <a:ext cx="11851251" cy="5338782"/>
            <a:chOff x="-14169" y="506202"/>
            <a:chExt cx="11851251" cy="5338782"/>
          </a:xfrm>
          <a:solidFill>
            <a:schemeClr val="bg1"/>
          </a:solidFill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D29C28D-14ED-B84E-8E53-A6BB8329DEDB}"/>
                </a:ext>
              </a:extLst>
            </p:cNvPr>
            <p:cNvSpPr/>
            <p:nvPr userDrawn="1"/>
          </p:nvSpPr>
          <p:spPr>
            <a:xfrm rot="8100000">
              <a:off x="10845762" y="909016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89AA42A9-15FB-6749-AE69-FC1D7B7168F3}"/>
                </a:ext>
              </a:extLst>
            </p:cNvPr>
            <p:cNvGrpSpPr/>
            <p:nvPr userDrawn="1"/>
          </p:nvGrpSpPr>
          <p:grpSpPr>
            <a:xfrm>
              <a:off x="-14169" y="506202"/>
              <a:ext cx="11851251" cy="5338782"/>
              <a:chOff x="-14169" y="506202"/>
              <a:chExt cx="11851251" cy="5338782"/>
            </a:xfrm>
            <a:grpFill/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62B22248-2D53-E247-AA3F-ED2E1D124D64}"/>
                  </a:ext>
                </a:extLst>
              </p:cNvPr>
              <p:cNvSpPr/>
              <p:nvPr userDrawn="1"/>
            </p:nvSpPr>
            <p:spPr>
              <a:xfrm>
                <a:off x="-14169" y="5620843"/>
                <a:ext cx="4538446" cy="224141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F1BFD95-5698-FF43-AD20-66576A3F3D3A}"/>
                  </a:ext>
                </a:extLst>
              </p:cNvPr>
              <p:cNvSpPr/>
              <p:nvPr userDrawn="1"/>
            </p:nvSpPr>
            <p:spPr>
              <a:xfrm rot="16200000">
                <a:off x="2360984" y="3679797"/>
                <a:ext cx="4096587" cy="22999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5A044FDD-50FA-1648-9457-EC05013947C0}"/>
                  </a:ext>
                </a:extLst>
              </p:cNvPr>
              <p:cNvSpPr/>
              <p:nvPr userDrawn="1"/>
            </p:nvSpPr>
            <p:spPr>
              <a:xfrm>
                <a:off x="4294278" y="1746503"/>
                <a:ext cx="6843541" cy="224141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96C32C9E-D401-6E48-9976-914E453C4AD3}"/>
                  </a:ext>
                </a:extLst>
              </p:cNvPr>
              <p:cNvGrpSpPr/>
              <p:nvPr userDrawn="1"/>
            </p:nvGrpSpPr>
            <p:grpSpPr>
              <a:xfrm>
                <a:off x="10907820" y="506202"/>
                <a:ext cx="929262" cy="929262"/>
                <a:chOff x="10912844" y="507347"/>
                <a:chExt cx="929262" cy="929262"/>
              </a:xfrm>
              <a:grpFill/>
            </p:grpSpPr>
            <p:sp>
              <p:nvSpPr>
                <p:cNvPr id="38" name="Parallelogram 37">
                  <a:extLst>
                    <a:ext uri="{FF2B5EF4-FFF2-40B4-BE49-F238E27FC236}">
                      <a16:creationId xmlns:a16="http://schemas.microsoft.com/office/drawing/2014/main" id="{71008BFB-11BC-2542-8376-F7BB3B08D447}"/>
                    </a:ext>
                  </a:extLst>
                </p:cNvPr>
                <p:cNvSpPr/>
                <p:nvPr userDrawn="1"/>
              </p:nvSpPr>
              <p:spPr>
                <a:xfrm>
                  <a:off x="10912844" y="508806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" name="Parallelogram 38">
                  <a:extLst>
                    <a:ext uri="{FF2B5EF4-FFF2-40B4-BE49-F238E27FC236}">
                      <a16:creationId xmlns:a16="http://schemas.microsoft.com/office/drawing/2014/main" id="{BFC3B435-F175-C845-9FEA-61EBC171A2AD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11261504" y="859182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9E2D5033-F106-D542-AA2A-50FF984D99EF}"/>
                  </a:ext>
                </a:extLst>
              </p:cNvPr>
              <p:cNvSpPr/>
              <p:nvPr userDrawn="1"/>
            </p:nvSpPr>
            <p:spPr>
              <a:xfrm rot="16200000">
                <a:off x="10675931" y="1508754"/>
                <a:ext cx="693779" cy="22999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1" name="pg">
            <a:extLst>
              <a:ext uri="{FF2B5EF4-FFF2-40B4-BE49-F238E27FC236}">
                <a16:creationId xmlns:a16="http://schemas.microsoft.com/office/drawing/2014/main" id="{C069C5FF-C4F5-3B4E-990A-A42FD42A45F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E887DFBA-3B0F-FA44-9309-DD5EEEB5A3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7B6EED-A51B-1508-D9E2-272A0FFC1A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23" name="Picture 22" descr="McGraw Hill red cube Logo">
            <a:extLst>
              <a:ext uri="{FF2B5EF4-FFF2-40B4-BE49-F238E27FC236}">
                <a16:creationId xmlns:a16="http://schemas.microsoft.com/office/drawing/2014/main" id="{044DDC38-FB28-EF4C-ADCF-A9C98CF649D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5241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EEC6ED01-89A0-7B4E-84D8-3604A114E3B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9238B502-8BAD-5248-B9DE-FB96A0F868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17754"/>
            <a:ext cx="11851251" cy="5338782"/>
            <a:chOff x="-14169" y="506202"/>
            <a:chExt cx="11851251" cy="5338782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A8C88DB-8810-E447-8A81-0F3785A8C157}"/>
                </a:ext>
              </a:extLst>
            </p:cNvPr>
            <p:cNvSpPr/>
            <p:nvPr userDrawn="1"/>
          </p:nvSpPr>
          <p:spPr>
            <a:xfrm rot="8100000">
              <a:off x="10845762" y="909016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9282E3CE-BD2B-6340-900F-B2BA9F83F177}"/>
                </a:ext>
              </a:extLst>
            </p:cNvPr>
            <p:cNvGrpSpPr/>
            <p:nvPr userDrawn="1"/>
          </p:nvGrpSpPr>
          <p:grpSpPr>
            <a:xfrm>
              <a:off x="-14169" y="506202"/>
              <a:ext cx="11851251" cy="5338782"/>
              <a:chOff x="-14169" y="506202"/>
              <a:chExt cx="11851251" cy="5338782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D9A29EC1-CD07-CB4F-92F6-2FBF0D61BF1C}"/>
                  </a:ext>
                </a:extLst>
              </p:cNvPr>
              <p:cNvSpPr/>
              <p:nvPr userDrawn="1"/>
            </p:nvSpPr>
            <p:spPr>
              <a:xfrm>
                <a:off x="-14169" y="5620843"/>
                <a:ext cx="4538446" cy="224141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43A07749-049F-F14B-A2DF-F987E7A19542}"/>
                  </a:ext>
                </a:extLst>
              </p:cNvPr>
              <p:cNvSpPr/>
              <p:nvPr userDrawn="1"/>
            </p:nvSpPr>
            <p:spPr>
              <a:xfrm rot="16200000">
                <a:off x="2360984" y="3679797"/>
                <a:ext cx="4096587" cy="229998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BEB25190-E7AE-5641-B401-057448851CBD}"/>
                  </a:ext>
                </a:extLst>
              </p:cNvPr>
              <p:cNvSpPr/>
              <p:nvPr userDrawn="1"/>
            </p:nvSpPr>
            <p:spPr>
              <a:xfrm>
                <a:off x="4294278" y="1746503"/>
                <a:ext cx="6843541" cy="224141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DF062EBD-C107-A945-A796-8FBA20908D1F}"/>
                  </a:ext>
                </a:extLst>
              </p:cNvPr>
              <p:cNvGrpSpPr/>
              <p:nvPr userDrawn="1"/>
            </p:nvGrpSpPr>
            <p:grpSpPr>
              <a:xfrm>
                <a:off x="10907820" y="506202"/>
                <a:ext cx="929262" cy="929262"/>
                <a:chOff x="10912844" y="507347"/>
                <a:chExt cx="929262" cy="929262"/>
              </a:xfrm>
              <a:solidFill>
                <a:srgbClr val="E21A23"/>
              </a:solidFill>
            </p:grpSpPr>
            <p:sp>
              <p:nvSpPr>
                <p:cNvPr id="17" name="Parallelogram 16">
                  <a:extLst>
                    <a:ext uri="{FF2B5EF4-FFF2-40B4-BE49-F238E27FC236}">
                      <a16:creationId xmlns:a16="http://schemas.microsoft.com/office/drawing/2014/main" id="{F6133709-CC2E-AD4D-B22A-55D6A67BD879}"/>
                    </a:ext>
                  </a:extLst>
                </p:cNvPr>
                <p:cNvSpPr/>
                <p:nvPr userDrawn="1"/>
              </p:nvSpPr>
              <p:spPr>
                <a:xfrm>
                  <a:off x="10912844" y="508806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8" name="Parallelogram 17">
                  <a:extLst>
                    <a:ext uri="{FF2B5EF4-FFF2-40B4-BE49-F238E27FC236}">
                      <a16:creationId xmlns:a16="http://schemas.microsoft.com/office/drawing/2014/main" id="{3D135569-176F-D34C-B1AA-FC3F2A4245B6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11261504" y="859182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08783BD0-5800-864A-85E4-A5FA8CDECACD}"/>
                  </a:ext>
                </a:extLst>
              </p:cNvPr>
              <p:cNvSpPr/>
              <p:nvPr userDrawn="1"/>
            </p:nvSpPr>
            <p:spPr>
              <a:xfrm rot="16200000">
                <a:off x="10675931" y="1508754"/>
                <a:ext cx="693779" cy="229998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092AABA7-D5EC-3E42-92EF-22F71D9466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84089"/>
            <a:ext cx="7667723" cy="387244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Pg">
            <a:extLst>
              <a:ext uri="{FF2B5EF4-FFF2-40B4-BE49-F238E27FC236}">
                <a16:creationId xmlns:a16="http://schemas.microsoft.com/office/drawing/2014/main" id="{74E6E17B-B3EE-D24B-8186-59427D04F31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Subtitle">
            <a:extLst>
              <a:ext uri="{FF2B5EF4-FFF2-40B4-BE49-F238E27FC236}">
                <a16:creationId xmlns:a16="http://schemas.microsoft.com/office/drawing/2014/main" id="{316A894F-484A-204F-ABA7-30CBA739C3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32B211AD-4A3A-0F47-97B5-BEA7151AAB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26" name="Picture 25" descr="McGraw Hill red cube Logo">
            <a:extLst>
              <a:ext uri="{FF2B5EF4-FFF2-40B4-BE49-F238E27FC236}">
                <a16:creationId xmlns:a16="http://schemas.microsoft.com/office/drawing/2014/main" id="{A18E319A-A3FF-CB41-AC94-68C78BF6DA8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22872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3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op Nav">
            <a:extLst>
              <a:ext uri="{FF2B5EF4-FFF2-40B4-BE49-F238E27FC236}">
                <a16:creationId xmlns:a16="http://schemas.microsoft.com/office/drawing/2014/main" id="{5FF64314-768A-094E-8D3E-792A346992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6D0734D5-ECCE-EE43-AEEC-6D640277C70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Column 1">
            <a:extLst>
              <a:ext uri="{FF2B5EF4-FFF2-40B4-BE49-F238E27FC236}">
                <a16:creationId xmlns:a16="http://schemas.microsoft.com/office/drawing/2014/main" id="{6BC6A701-16E4-384A-B480-07F21A4EB64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3" name="Headline 2">
            <a:extLst>
              <a:ext uri="{FF2B5EF4-FFF2-40B4-BE49-F238E27FC236}">
                <a16:creationId xmlns:a16="http://schemas.microsoft.com/office/drawing/2014/main" id="{5F149B35-BE87-6D4B-A76F-EE326743B20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14" name="Column 1">
            <a:extLst>
              <a:ext uri="{FF2B5EF4-FFF2-40B4-BE49-F238E27FC236}">
                <a16:creationId xmlns:a16="http://schemas.microsoft.com/office/drawing/2014/main" id="{8AAD9075-C0FD-4F01-4CCF-5A2EB367446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0A8ABF64-91D8-2F48-97D4-73DC521F41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D147B5A1-6770-244F-90F9-39C7D7B4ED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0883309-70D3-0340-B14E-BE30AF3BDB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39548778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RED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op Nav">
            <a:extLst>
              <a:ext uri="{FF2B5EF4-FFF2-40B4-BE49-F238E27FC236}">
                <a16:creationId xmlns:a16="http://schemas.microsoft.com/office/drawing/2014/main" id="{5FF64314-768A-094E-8D3E-792A346992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6D0734D5-ECCE-EE43-AEEC-6D640277C70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4B65D06A-C660-304A-BF51-E53969C245E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96000" y="723900"/>
            <a:ext cx="6096000" cy="61341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A407A57A-3991-234C-BB4D-C76AA722410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1435" y="2248300"/>
            <a:ext cx="4647804" cy="429260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e do not advise to change color and size of font from what is displayed to abide by accessibility guidance. 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7613E3-528C-4B48-962F-218DA3062E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D147B5A1-6770-244F-90F9-39C7D7B4ED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4341A4-E791-D44E-AC57-83B8D4678A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8412707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25C50BE7-02B9-E94F-82D1-CA65C5808638}"/>
              </a:ext>
            </a:extLst>
          </p:cNvPr>
          <p:cNvSpPr/>
          <p:nvPr userDrawn="1"/>
        </p:nvSpPr>
        <p:spPr>
          <a:xfrm>
            <a:off x="0" y="-1"/>
            <a:ext cx="12192000" cy="6860093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  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CFEC3F10-5F67-304B-8825-308AD531CD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C58AD3BE-D6CF-A64B-8811-9A8A9093BA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62867" y="-3"/>
            <a:ext cx="11734660" cy="6349157"/>
            <a:chOff x="362867" y="-3"/>
            <a:chExt cx="11734660" cy="6349157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362867" y="6136112"/>
              <a:ext cx="10780357" cy="21304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/>
          </p:nvSpPr>
          <p:spPr>
            <a:xfrm rot="16200000">
              <a:off x="9515714" y="4721644"/>
              <a:ext cx="3025021" cy="2299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A49CCB56-97C4-D743-80FD-7AEEF01BDBA1}"/>
                </a:ext>
              </a:extLst>
            </p:cNvPr>
            <p:cNvSpPr/>
            <p:nvPr/>
          </p:nvSpPr>
          <p:spPr>
            <a:xfrm>
              <a:off x="9502377" y="3324133"/>
              <a:ext cx="1640847" cy="2241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6888F149-DAA2-B848-801A-FCC1422F3B96}"/>
                </a:ext>
              </a:extLst>
            </p:cNvPr>
            <p:cNvSpPr/>
            <p:nvPr/>
          </p:nvSpPr>
          <p:spPr>
            <a:xfrm rot="16200000">
              <a:off x="9188261" y="3004154"/>
              <a:ext cx="858236" cy="2300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chemeClr val="bg1"/>
            </a:solidFill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9147057" y="1613790"/>
              <a:ext cx="2950470" cy="2241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D427200B-3CEF-4543-AFE8-A349D401B181}"/>
                </a:ext>
              </a:extLst>
            </p:cNvPr>
            <p:cNvSpPr/>
            <p:nvPr userDrawn="1"/>
          </p:nvSpPr>
          <p:spPr>
            <a:xfrm rot="16200000">
              <a:off x="-2696712" y="3059577"/>
              <a:ext cx="6349157" cy="2299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546F528F-8FD7-0046-8513-FB61348B37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chemeClr val="accent3"/>
          </a:solidFill>
          <a:ln w="9525">
            <a:solidFill>
              <a:srgbClr val="5F14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FABC2A16-3F7C-3046-969E-5B8D87BD37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accent3"/>
          </a:solidFill>
          <a:ln w="9525">
            <a:solidFill>
              <a:srgbClr val="5F14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7E67ABFC-699A-5442-B333-C5B9BFC1B62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0" name="Numeral Date">
            <a:extLst>
              <a:ext uri="{FF2B5EF4-FFF2-40B4-BE49-F238E27FC236}">
                <a16:creationId xmlns:a16="http://schemas.microsoft.com/office/drawing/2014/main" id="{80B0E6A2-D15A-844C-BC00-3E06BA55C9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1" name="Name &amp; Surname">
            <a:extLst>
              <a:ext uri="{FF2B5EF4-FFF2-40B4-BE49-F238E27FC236}">
                <a16:creationId xmlns:a16="http://schemas.microsoft.com/office/drawing/2014/main" id="{4A623C1E-7ACF-624F-925D-EE13A08C6D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48" name="Subtitle">
            <a:extLst>
              <a:ext uri="{FF2B5EF4-FFF2-40B4-BE49-F238E27FC236}">
                <a16:creationId xmlns:a16="http://schemas.microsoft.com/office/drawing/2014/main" id="{C521F783-BD0D-4E45-AF8D-244BD4F709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22" name="Title 2">
            <a:extLst>
              <a:ext uri="{FF2B5EF4-FFF2-40B4-BE49-F238E27FC236}">
                <a16:creationId xmlns:a16="http://schemas.microsoft.com/office/drawing/2014/main" id="{518E6496-8922-7A41-B98C-68CD630298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44" name="Picture 43" descr="McGraw Hill red cube Logo">
            <a:extLst>
              <a:ext uri="{FF2B5EF4-FFF2-40B4-BE49-F238E27FC236}">
                <a16:creationId xmlns:a16="http://schemas.microsoft.com/office/drawing/2014/main" id="{AD397FEF-023D-054E-ACC9-0270E3770C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15504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RED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A91B10F-EC0D-C943-A3BF-5EA4083470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971799" y="728662"/>
            <a:ext cx="9220200" cy="61314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05E1BBCE-1234-3F43-9A61-5DFC3A3C1E1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A78ABDEE-3F66-9544-9A11-A8EE097D130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06850" y="2305229"/>
            <a:ext cx="6459054" cy="3699165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do not advise to change color and size of font from what is displayed to abide by accessibility guidance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amet, consectetuer adipiscing elit, sed diam 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ip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odo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qua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spcBef>
                <a:spcPts val="1200"/>
              </a:spcBef>
            </a:pPr>
            <a:endParaRPr lang="en-US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C129857A-4191-9E44-B536-ECD8F78696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6850" y="1404902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D50FC85D-27CD-FF4D-8BFA-DF4E67E5B43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728663"/>
            <a:ext cx="2971799" cy="61293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3" name="Chapter Title">
            <a:extLst>
              <a:ext uri="{FF2B5EF4-FFF2-40B4-BE49-F238E27FC236}">
                <a16:creationId xmlns:a16="http://schemas.microsoft.com/office/drawing/2014/main" id="{092D0355-EC65-A840-8C46-2F2D005A4B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5827C1-94DC-5940-A85A-10CDA96F28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9213483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4815806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BLU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909D505E-311A-9742-9802-6BA20700E6E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C3E5E1A-83D6-C743-AA00-2266C72F07C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96000" y="723900"/>
            <a:ext cx="6096000" cy="61341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2" name="Column 1">
            <a:extLst>
              <a:ext uri="{FF2B5EF4-FFF2-40B4-BE49-F238E27FC236}">
                <a16:creationId xmlns:a16="http://schemas.microsoft.com/office/drawing/2014/main" id="{84811588-2F3A-374E-A3FD-346248EA134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1435" y="2248300"/>
            <a:ext cx="4647804" cy="429260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e do not advise to change color and size of font from what is displayed to abide by accessibility guidance. 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BA93A090-B6E4-C645-ACB7-BA8B5BBC56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9BB60C-87AB-3B4D-9FA6-2E22249D4D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230493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BLUE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A91B10F-EC0D-C943-A3BF-5EA4083470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971799" y="728662"/>
            <a:ext cx="9220199" cy="6131437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BB24EE79-0614-1C44-9851-9AF8AE45475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7BE2A8A8-9F48-D340-BBE6-3CCC22FF302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06850" y="2305229"/>
            <a:ext cx="6359663" cy="3699165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We do not advise to change color and size of font from what is displayed to abide by accessibility guidance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amet, consectetuer adipiscing elit, sed diam 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ip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odo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qua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6C2F877-471D-F64A-908A-B18F178596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6850" y="1404902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08187EC-ADB8-8D41-852E-6A8DD6FB361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728663"/>
            <a:ext cx="2971800" cy="61293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83F9BD00-9860-B24B-A115-ADCF1F873F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27715F7-79AE-4445-BAD3-85182EECDA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596699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op Nav">
            <a:extLst>
              <a:ext uri="{FF2B5EF4-FFF2-40B4-BE49-F238E27FC236}">
                <a16:creationId xmlns:a16="http://schemas.microsoft.com/office/drawing/2014/main" id="{5FF64314-768A-094E-8D3E-792A346992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C4D0ECBF-4E72-77E1-6744-5633305B89FA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06282726-7744-71C7-52A7-0E097341F0F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Headline 2">
            <a:extLst>
              <a:ext uri="{FF2B5EF4-FFF2-40B4-BE49-F238E27FC236}">
                <a16:creationId xmlns:a16="http://schemas.microsoft.com/office/drawing/2014/main" id="{3B9320FD-ECFE-2547-B24C-41807BE745F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26A6B253-D5CC-3F6C-B9F3-19D60636686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6E612916-D698-B646-8E99-73538FEC0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hapter Title">
            <a:extLst>
              <a:ext uri="{FF2B5EF4-FFF2-40B4-BE49-F238E27FC236}">
                <a16:creationId xmlns:a16="http://schemas.microsoft.com/office/drawing/2014/main" id="{3B15BE9E-15AB-6248-BC6C-65FA9B4190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7D7113C-B06C-114F-9BC4-D9927D5EDD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507016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8779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 – Text Heav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pter Title">
            <a:extLst>
              <a:ext uri="{FF2B5EF4-FFF2-40B4-BE49-F238E27FC236}">
                <a16:creationId xmlns:a16="http://schemas.microsoft.com/office/drawing/2014/main" id="{6270A90D-500C-E74E-8060-95448D45EE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7549A0-DD2F-6C43-86AE-FF641D1700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BF1DBC1E-7F69-B843-B19E-79A078D9478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F4E5FD-8EB6-BE45-B712-8F1275A7C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olumn 1">
            <a:extLst>
              <a:ext uri="{FF2B5EF4-FFF2-40B4-BE49-F238E27FC236}">
                <a16:creationId xmlns:a16="http://schemas.microsoft.com/office/drawing/2014/main" id="{D98A9DBF-922D-A54A-AEA9-91C2162DC5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6F862A84-E061-8143-BCE7-4C9B9A9B5E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406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33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Path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op Nav">
            <a:extLst>
              <a:ext uri="{FF2B5EF4-FFF2-40B4-BE49-F238E27FC236}">
                <a16:creationId xmlns:a16="http://schemas.microsoft.com/office/drawing/2014/main" id="{B0DBB454-2923-D247-A793-2E1AD83EDC61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896931D-0790-784E-B4DB-8ED1ACF447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 flipH="1">
            <a:off x="1" y="3321724"/>
            <a:ext cx="12191998" cy="3027950"/>
            <a:chOff x="1" y="2621937"/>
            <a:chExt cx="12191998" cy="3027950"/>
          </a:xfrm>
        </p:grpSpPr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55043362-8F75-0745-A63A-7834495F8714}"/>
                </a:ext>
              </a:extLst>
            </p:cNvPr>
            <p:cNvGrpSpPr/>
            <p:nvPr userDrawn="1"/>
          </p:nvGrpSpPr>
          <p:grpSpPr>
            <a:xfrm>
              <a:off x="1" y="2621937"/>
              <a:ext cx="2001201" cy="233422"/>
              <a:chOff x="0" y="2656480"/>
              <a:chExt cx="9572617" cy="233422"/>
            </a:xfrm>
          </p:grpSpPr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3E66ECAB-7133-AD4B-B0EE-28A4BEF04CAC}"/>
                  </a:ext>
                </a:extLst>
              </p:cNvPr>
              <p:cNvSpPr/>
              <p:nvPr userDrawn="1"/>
            </p:nvSpPr>
            <p:spPr>
              <a:xfrm>
                <a:off x="0" y="2656480"/>
                <a:ext cx="9572617" cy="116711"/>
              </a:xfrm>
              <a:prstGeom prst="rect">
                <a:avLst/>
              </a:prstGeom>
              <a:solidFill>
                <a:srgbClr val="0623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1C11623C-AC1A-4A43-A565-9255506E6567}"/>
                  </a:ext>
                </a:extLst>
              </p:cNvPr>
              <p:cNvSpPr/>
              <p:nvPr userDrawn="1"/>
            </p:nvSpPr>
            <p:spPr>
              <a:xfrm>
                <a:off x="0" y="2773191"/>
                <a:ext cx="957261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A8D16141-CCAB-0746-8535-98B2E101BCFA}"/>
                </a:ext>
              </a:extLst>
            </p:cNvPr>
            <p:cNvGrpSpPr/>
            <p:nvPr userDrawn="1"/>
          </p:nvGrpSpPr>
          <p:grpSpPr>
            <a:xfrm rot="5400000">
              <a:off x="428932" y="4077616"/>
              <a:ext cx="2911120" cy="233422"/>
              <a:chOff x="0" y="2656480"/>
              <a:chExt cx="9572617" cy="233422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952A5FA2-4E0D-C54C-BB84-BDD6D943E8D4}"/>
                  </a:ext>
                </a:extLst>
              </p:cNvPr>
              <p:cNvSpPr/>
              <p:nvPr userDrawn="1"/>
            </p:nvSpPr>
            <p:spPr>
              <a:xfrm>
                <a:off x="0" y="2656480"/>
                <a:ext cx="9572617" cy="116711"/>
              </a:xfrm>
              <a:prstGeom prst="rect">
                <a:avLst/>
              </a:prstGeom>
              <a:solidFill>
                <a:srgbClr val="0623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CC389AD1-AB5B-BD49-AB38-9B9B1604791E}"/>
                  </a:ext>
                </a:extLst>
              </p:cNvPr>
              <p:cNvSpPr/>
              <p:nvPr userDrawn="1"/>
            </p:nvSpPr>
            <p:spPr>
              <a:xfrm>
                <a:off x="0" y="2773191"/>
                <a:ext cx="957261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1969F282-EF38-FC40-905F-6E5D77FB9041}"/>
                </a:ext>
              </a:extLst>
            </p:cNvPr>
            <p:cNvGrpSpPr/>
            <p:nvPr userDrawn="1"/>
          </p:nvGrpSpPr>
          <p:grpSpPr>
            <a:xfrm>
              <a:off x="1884490" y="5416463"/>
              <a:ext cx="10307509" cy="233422"/>
              <a:chOff x="0" y="2656480"/>
              <a:chExt cx="9572617" cy="233422"/>
            </a:xfrm>
          </p:grpSpPr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EFC2C7F0-EC9D-D44C-B4DD-06FE6C88E716}"/>
                  </a:ext>
                </a:extLst>
              </p:cNvPr>
              <p:cNvSpPr/>
              <p:nvPr userDrawn="1"/>
            </p:nvSpPr>
            <p:spPr>
              <a:xfrm>
                <a:off x="0" y="2656480"/>
                <a:ext cx="9572617" cy="116711"/>
              </a:xfrm>
              <a:prstGeom prst="rect">
                <a:avLst/>
              </a:prstGeom>
              <a:solidFill>
                <a:srgbClr val="0623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F7BDA258-0A0D-F741-9901-55DEAA79A460}"/>
                  </a:ext>
                </a:extLst>
              </p:cNvPr>
              <p:cNvSpPr/>
              <p:nvPr userDrawn="1"/>
            </p:nvSpPr>
            <p:spPr>
              <a:xfrm>
                <a:off x="0" y="2773191"/>
                <a:ext cx="957261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F5B8D5-712F-414E-A26F-6FA978D44C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7" name="Chapter Title">
            <a:extLst>
              <a:ext uri="{FF2B5EF4-FFF2-40B4-BE49-F238E27FC236}">
                <a16:creationId xmlns:a16="http://schemas.microsoft.com/office/drawing/2014/main" id="{D7037DB2-618C-FC4F-9EF6-9DD3982345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48" name="Pg">
            <a:extLst>
              <a:ext uri="{FF2B5EF4-FFF2-40B4-BE49-F238E27FC236}">
                <a16:creationId xmlns:a16="http://schemas.microsoft.com/office/drawing/2014/main" id="{75E0C428-3E02-FA42-99AF-95E6B1BE253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D785BAF5-3D1A-EB44-9381-2C704C2238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7450" y="958960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0" name="01">
            <a:extLst>
              <a:ext uri="{FF2B5EF4-FFF2-40B4-BE49-F238E27FC236}">
                <a16:creationId xmlns:a16="http://schemas.microsoft.com/office/drawing/2014/main" id="{C7460D23-DB38-E34B-9711-F933BB9213C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0351" y="1813832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" name="Headline 1">
            <a:extLst>
              <a:ext uri="{FF2B5EF4-FFF2-40B4-BE49-F238E27FC236}">
                <a16:creationId xmlns:a16="http://schemas.microsoft.com/office/drawing/2014/main" id="{8E9BAA1C-DF88-B445-9BDF-5E8FB00ADB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99197" y="1813832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50" name="Copy 1">
            <a:extLst>
              <a:ext uri="{FF2B5EF4-FFF2-40B4-BE49-F238E27FC236}">
                <a16:creationId xmlns:a16="http://schemas.microsoft.com/office/drawing/2014/main" id="{238D5C13-6BC6-864C-852E-088734E0F5B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12671" y="2265940"/>
            <a:ext cx="4241637" cy="4206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do not advise to change color and size of font from what is displayed to abide by accessibility guidance. </a:t>
            </a:r>
          </a:p>
        </p:txBody>
      </p:sp>
      <p:sp>
        <p:nvSpPr>
          <p:cNvPr id="33" name="02">
            <a:extLst>
              <a:ext uri="{FF2B5EF4-FFF2-40B4-BE49-F238E27FC236}">
                <a16:creationId xmlns:a16="http://schemas.microsoft.com/office/drawing/2014/main" id="{502F8C79-77C0-5C48-867D-B292CA3E5A1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7450" y="3291803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2" name="Headline 2">
            <a:extLst>
              <a:ext uri="{FF2B5EF4-FFF2-40B4-BE49-F238E27FC236}">
                <a16:creationId xmlns:a16="http://schemas.microsoft.com/office/drawing/2014/main" id="{1217D55F-AC99-6C4B-A91A-B525B2F82D0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06296" y="3291803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69" name="Copy 2">
            <a:extLst>
              <a:ext uri="{FF2B5EF4-FFF2-40B4-BE49-F238E27FC236}">
                <a16:creationId xmlns:a16="http://schemas.microsoft.com/office/drawing/2014/main" id="{6B38AE9F-747B-2849-9A2B-8E78114D04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99196" y="3698521"/>
            <a:ext cx="4241637" cy="9288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timeam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pri</a:t>
            </a:r>
            <a:r>
              <a:rPr lang="en-US"/>
              <a:t>,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sole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 ex. Sea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pertinax</a:t>
            </a:r>
            <a:r>
              <a:rPr lang="en-US"/>
              <a:t> </a:t>
            </a:r>
            <a:r>
              <a:rPr lang="en-US" err="1"/>
              <a:t>assentior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, vim.</a:t>
            </a:r>
          </a:p>
        </p:txBody>
      </p:sp>
      <p:sp>
        <p:nvSpPr>
          <p:cNvPr id="36" name="03">
            <a:extLst>
              <a:ext uri="{FF2B5EF4-FFF2-40B4-BE49-F238E27FC236}">
                <a16:creationId xmlns:a16="http://schemas.microsoft.com/office/drawing/2014/main" id="{8C7E74A7-FBB4-F44D-9FD3-F3C86CE25C9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8563" y="4758717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8" name="Headline 3">
            <a:extLst>
              <a:ext uri="{FF2B5EF4-FFF2-40B4-BE49-F238E27FC236}">
                <a16:creationId xmlns:a16="http://schemas.microsoft.com/office/drawing/2014/main" id="{A5C9EDD8-7B5C-B14B-A1FE-E4BC3B6F3C0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06296" y="4752591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70" name="Copy 3">
            <a:extLst>
              <a:ext uri="{FF2B5EF4-FFF2-40B4-BE49-F238E27FC236}">
                <a16:creationId xmlns:a16="http://schemas.microsoft.com/office/drawing/2014/main" id="{C2895A15-FE9A-7A4F-8035-F76C77E050E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12671" y="5182326"/>
            <a:ext cx="4241637" cy="9288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timeam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pri</a:t>
            </a:r>
            <a:r>
              <a:rPr lang="en-US"/>
              <a:t>,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sole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 ex. Sea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pertinax</a:t>
            </a:r>
            <a:r>
              <a:rPr lang="en-US"/>
              <a:t> </a:t>
            </a:r>
            <a:r>
              <a:rPr lang="en-US" err="1"/>
              <a:t>assentior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, vim.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C093DB3-273B-AF41-9798-B6C4095D961A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935788" y="1746250"/>
            <a:ext cx="4148137" cy="51117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73459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op Nav">
            <a:extLst>
              <a:ext uri="{FF2B5EF4-FFF2-40B4-BE49-F238E27FC236}">
                <a16:creationId xmlns:a16="http://schemas.microsoft.com/office/drawing/2014/main" id="{4F65DF74-35BF-374C-8CF0-E5D7AB09DDE3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13287A0-C8FD-6449-8310-14600C68CD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3321723"/>
            <a:ext cx="12192000" cy="3027951"/>
            <a:chOff x="0" y="2621937"/>
            <a:chExt cx="12192000" cy="3027951"/>
          </a:xfrm>
          <a:solidFill>
            <a:schemeClr val="accent1"/>
          </a:solidFill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A87DFCB-27DE-CA43-932D-377A4B7A96E8}"/>
                </a:ext>
              </a:extLst>
            </p:cNvPr>
            <p:cNvSpPr/>
            <p:nvPr userDrawn="1"/>
          </p:nvSpPr>
          <p:spPr>
            <a:xfrm>
              <a:off x="0" y="2621937"/>
              <a:ext cx="1821468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F4C1B40-A6DC-E140-A12A-4D94A2DA9CA4}"/>
                </a:ext>
              </a:extLst>
            </p:cNvPr>
            <p:cNvSpPr/>
            <p:nvPr userDrawn="1"/>
          </p:nvSpPr>
          <p:spPr>
            <a:xfrm rot="5400000">
              <a:off x="372227" y="4020914"/>
              <a:ext cx="3027951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F788E9F-4D6F-FC49-AFFB-0DB170A87861}"/>
                </a:ext>
              </a:extLst>
            </p:cNvPr>
            <p:cNvSpPr/>
            <p:nvPr userDrawn="1"/>
          </p:nvSpPr>
          <p:spPr>
            <a:xfrm>
              <a:off x="1810327" y="5419887"/>
              <a:ext cx="10381673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DD26904-2D64-A041-AED1-1566B3F825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2" name="Chapter Title">
            <a:extLst>
              <a:ext uri="{FF2B5EF4-FFF2-40B4-BE49-F238E27FC236}">
                <a16:creationId xmlns:a16="http://schemas.microsoft.com/office/drawing/2014/main" id="{9A5F8572-960D-D448-90C2-B30ED42846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Pg">
            <a:extLst>
              <a:ext uri="{FF2B5EF4-FFF2-40B4-BE49-F238E27FC236}">
                <a16:creationId xmlns:a16="http://schemas.microsoft.com/office/drawing/2014/main" id="{48342CED-001C-AD48-8427-D341DEBD80C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5B0E7CBC-867F-A54C-812D-51EB02B0D0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04895" y="958960"/>
            <a:ext cx="4796859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8" name="01">
            <a:extLst>
              <a:ext uri="{FF2B5EF4-FFF2-40B4-BE49-F238E27FC236}">
                <a16:creationId xmlns:a16="http://schemas.microsoft.com/office/drawing/2014/main" id="{4DD26A78-8BCB-B24A-B98B-D3C5C720142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97796" y="1718735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37" name="Headline 1">
            <a:extLst>
              <a:ext uri="{FF2B5EF4-FFF2-40B4-BE49-F238E27FC236}">
                <a16:creationId xmlns:a16="http://schemas.microsoft.com/office/drawing/2014/main" id="{F77579FA-E0A6-BE4E-B83A-0F7305BA49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46642" y="1718735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39" name="Copy 1">
            <a:extLst>
              <a:ext uri="{FF2B5EF4-FFF2-40B4-BE49-F238E27FC236}">
                <a16:creationId xmlns:a16="http://schemas.microsoft.com/office/drawing/2014/main" id="{2388C246-4C64-A44F-961B-615B097BA7B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53018" y="2156391"/>
            <a:ext cx="4241637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do not advise to change color and size of font from what is displayed to abide by accessibility guidance. </a:t>
            </a: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02">
            <a:extLst>
              <a:ext uri="{FF2B5EF4-FFF2-40B4-BE49-F238E27FC236}">
                <a16:creationId xmlns:a16="http://schemas.microsoft.com/office/drawing/2014/main" id="{830944A2-8584-BC4A-92AA-32D0B4464A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04895" y="3196706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40" name="Headline 2">
            <a:extLst>
              <a:ext uri="{FF2B5EF4-FFF2-40B4-BE49-F238E27FC236}">
                <a16:creationId xmlns:a16="http://schemas.microsoft.com/office/drawing/2014/main" id="{FDD69F5D-AB79-3845-A6F2-385D5C5B1B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53741" y="3196706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2" name="Copy 2">
            <a:extLst>
              <a:ext uri="{FF2B5EF4-FFF2-40B4-BE49-F238E27FC236}">
                <a16:creationId xmlns:a16="http://schemas.microsoft.com/office/drawing/2014/main" id="{3D89D222-7622-9044-A731-85FC8011D9A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60117" y="3634362"/>
            <a:ext cx="4241637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esti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nir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. Se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li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tinax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ntior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vim.</a:t>
            </a: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03">
            <a:extLst>
              <a:ext uri="{FF2B5EF4-FFF2-40B4-BE49-F238E27FC236}">
                <a16:creationId xmlns:a16="http://schemas.microsoft.com/office/drawing/2014/main" id="{A0717EC4-4CFA-3746-A443-E79E29767C5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6008" y="4654382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45" name="Headline 3">
            <a:extLst>
              <a:ext uri="{FF2B5EF4-FFF2-40B4-BE49-F238E27FC236}">
                <a16:creationId xmlns:a16="http://schemas.microsoft.com/office/drawing/2014/main" id="{0D57046F-F33F-6840-BE9B-EAD06F2C968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53741" y="4657494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4" name="Copy 3">
            <a:extLst>
              <a:ext uri="{FF2B5EF4-FFF2-40B4-BE49-F238E27FC236}">
                <a16:creationId xmlns:a16="http://schemas.microsoft.com/office/drawing/2014/main" id="{4F9721F3-9853-5247-BD5C-9420E958AD3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61230" y="5092596"/>
            <a:ext cx="4241637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esti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nir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. Se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li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tinax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ntior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vim.</a:t>
            </a: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C6DB3A7-20E0-684E-9A74-A2BF27E7FB5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1069975" y="1373188"/>
            <a:ext cx="4438650" cy="54848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3196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9255815" y="757008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B06EC3-1936-BF49-B989-AE8ADD2313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E3F328E6-25F0-BD44-A497-CAA2D0BA73DA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B12A726-D813-1B48-A198-EE44A52DA9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0" name="Column 1">
            <a:extLst>
              <a:ext uri="{FF2B5EF4-FFF2-40B4-BE49-F238E27FC236}">
                <a16:creationId xmlns:a16="http://schemas.microsoft.com/office/drawing/2014/main" id="{A6CC86E6-0270-1A46-AD68-EA5815E015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7" name="Column 2">
            <a:extLst>
              <a:ext uri="{FF2B5EF4-FFF2-40B4-BE49-F238E27FC236}">
                <a16:creationId xmlns:a16="http://schemas.microsoft.com/office/drawing/2014/main" id="{1658EE3A-E60D-054C-BC6C-D3AC430DED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2836D77-0D00-81FC-192F-18388A3072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9771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rgbClr val="E21A23"/>
            </a:solidFill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B842EDC8-9FFB-2849-A229-4E95F1FA8F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874" cy="923533"/>
          </a:xfrm>
          <a:prstGeom prst="rect">
            <a:avLst/>
          </a:prstGeom>
          <a:solidFill>
            <a:schemeClr val="bg1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4F1E58E-5201-7248-9458-9D353017EE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bg1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BCEB94A7-64EA-3C44-B1A7-F2BF742D98D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33204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Numeral Date">
            <a:extLst>
              <a:ext uri="{FF2B5EF4-FFF2-40B4-BE49-F238E27FC236}">
                <a16:creationId xmlns:a16="http://schemas.microsoft.com/office/drawing/2014/main" id="{EAEF7B50-2449-3847-A9B3-BC55E2EFB2D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5" name="Name &amp; Surname">
            <a:extLst>
              <a:ext uri="{FF2B5EF4-FFF2-40B4-BE49-F238E27FC236}">
                <a16:creationId xmlns:a16="http://schemas.microsoft.com/office/drawing/2014/main" id="{1BE2989A-80FF-6748-9A18-6CF1DD0939C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347901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41" name="Subtitle">
            <a:extLst>
              <a:ext uri="{FF2B5EF4-FFF2-40B4-BE49-F238E27FC236}">
                <a16:creationId xmlns:a16="http://schemas.microsoft.com/office/drawing/2014/main" id="{89FF4802-A4D3-434E-9424-1B51794D3F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18" name="Title 2">
            <a:extLst>
              <a:ext uri="{FF2B5EF4-FFF2-40B4-BE49-F238E27FC236}">
                <a16:creationId xmlns:a16="http://schemas.microsoft.com/office/drawing/2014/main" id="{4BE9A612-EC57-864B-AADF-3B43A50F46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1" name="Picture 30" descr="McGraw Hill red cube Logo">
            <a:extLst>
              <a:ext uri="{FF2B5EF4-FFF2-40B4-BE49-F238E27FC236}">
                <a16:creationId xmlns:a16="http://schemas.microsoft.com/office/drawing/2014/main" id="{EFEC87DA-795E-124E-97B1-9468E0ABC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95195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4BC28C6-8794-0A47-ABCE-C7FC96D39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2102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BFB1D6C-A7E9-F346-8A13-0BCB15719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6" name="Chapter Title">
            <a:extLst>
              <a:ext uri="{FF2B5EF4-FFF2-40B4-BE49-F238E27FC236}">
                <a16:creationId xmlns:a16="http://schemas.microsoft.com/office/drawing/2014/main" id="{D679B90A-4AB2-E64F-865B-31FA7A647B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2734AE8A-25C0-5A40-8DCA-827143D8939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F695EBD-4DD2-D94C-8FE6-3BC8F009DD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53D7C1F0-4FF6-6146-83A3-619E9E7425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8D628D98-2995-2549-8BEB-B242D876BA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89F8ED53-76E5-D34E-AF57-48AB3FD4503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CE6948A-A3B1-F139-AEDB-5E631C58B4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CC836EA3-0289-2F4F-9CCE-4C8FA98EA37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4969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91159E-FB61-BD47-87D0-43DD404B05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0EC23C69-26E3-854A-8AEA-45792C9D8A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3E7B488B-7F58-E041-8E34-0A5108AC4422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950784B-C4DC-1048-8DB0-FBA0B7ED9C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3C493DB4-6E5A-0A49-B823-5D376D9C9E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6" name="Column 1">
            <a:extLst>
              <a:ext uri="{FF2B5EF4-FFF2-40B4-BE49-F238E27FC236}">
                <a16:creationId xmlns:a16="http://schemas.microsoft.com/office/drawing/2014/main" id="{8328127D-150E-B44E-BC89-0FD65043CC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6906905-9636-614B-830C-DF2EEB425E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4EC68AE-8387-1A40-2D4A-2C57F3A6FB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9" cy="4871033"/>
          </a:xfrm>
          <a:prstGeom prst="rect">
            <a:avLst/>
          </a:prstGeom>
        </p:spPr>
      </p:pic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9F580762-E4FC-D041-AD65-42DCA22C0A8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17399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330DBB1-932C-514D-8370-049DD406AE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1E28115-1F17-E042-B158-958DD79574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ED2A3636-75CE-1E42-9B3A-DAFCDFF373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26B4EDE0-F23F-9C40-8DBC-AA1DE963BCB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5DFC7AE-4EDA-5449-A40C-2DC74991B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132F1372-CD64-C741-83C2-B72000439FE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4" name="Column 1">
            <a:extLst>
              <a:ext uri="{FF2B5EF4-FFF2-40B4-BE49-F238E27FC236}">
                <a16:creationId xmlns:a16="http://schemas.microsoft.com/office/drawing/2014/main" id="{733B5D7A-D46F-EE40-98CC-40E79D9F65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Column 2">
            <a:extLst>
              <a:ext uri="{FF2B5EF4-FFF2-40B4-BE49-F238E27FC236}">
                <a16:creationId xmlns:a16="http://schemas.microsoft.com/office/drawing/2014/main" id="{B1FAC4E9-985E-3F49-8B63-05362E7E7E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D9FC49DD-4F8B-CF98-C24E-3D77881819A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4728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B2C9B86-2BA7-2C49-9B52-F95410DF70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305E351-B915-BD4D-A104-CE8A78E877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46F47BCD-2606-6446-B953-7EA51944FC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B9889367-1837-7547-8ADE-81B76555895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1670CB5-F520-4F4E-9416-10F61C1776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B923205D-6211-744A-A7D6-56BDC2958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22814ED1-29B4-164D-A3B2-0C0FCADE43F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97E1AD9F-2EE3-7442-9BF2-6F9AFDC280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4569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52B30F-DA32-BD48-A150-841D2CC200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C14102-5D1F-CC47-96A6-0F8B125B3B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FE7CC563-C876-8D49-9C67-CE4C3C65E6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30E17DB6-2150-0D46-8340-D3581FF40EC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D5738-B9A4-D446-8B86-A0199FBA6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31A62204-B7CF-0F47-9302-7611750252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C4D93840-F4DD-B843-BC4B-8AF7F98AB0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A2CB17AE-D121-8144-B913-2A0997DF2C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2722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93E3DBC-5438-6E46-92A8-F6F9A5B2B2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9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BA38B5C-C304-CF4C-9CE1-7646337157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9E4B0D1D-604E-5845-A559-76143769A4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0B370684-59CB-9D48-9E3B-4A19CF85F57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BEA7924-9977-A944-8820-5611CD6A14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E9167E63-18F2-B54A-93ED-51E4F364ED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9D45D5EF-D30C-1D4E-8C2E-CA2D9F7AD4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364274DE-F93B-234F-80D3-BADE92110F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29098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330DBB1-932C-514D-8370-049DD406AE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1E28115-1F17-E042-B158-958DD79574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ED2A3636-75CE-1E42-9B3A-DAFCDFF373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26B4EDE0-F23F-9C40-8DBC-AA1DE963BCB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5DFC7AE-4EDA-5449-A40C-2DC74991B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132F1372-CD64-C741-83C2-B72000439FE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4" name="Column 1">
            <a:extLst>
              <a:ext uri="{FF2B5EF4-FFF2-40B4-BE49-F238E27FC236}">
                <a16:creationId xmlns:a16="http://schemas.microsoft.com/office/drawing/2014/main" id="{733B5D7A-D46F-EE40-98CC-40E79D9F65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Column 2">
            <a:extLst>
              <a:ext uri="{FF2B5EF4-FFF2-40B4-BE49-F238E27FC236}">
                <a16:creationId xmlns:a16="http://schemas.microsoft.com/office/drawing/2014/main" id="{B1FAC4E9-985E-3F49-8B63-05362E7E7E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90017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with Image_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6792C61-A2E3-D441-8137-CB45AFE0828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DE6919F8-F58F-2A4A-98F5-FDE984CD97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017" y="498906"/>
            <a:ext cx="12183602" cy="5878123"/>
            <a:chOff x="-1017" y="498906"/>
            <a:chExt cx="12183602" cy="5878123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E84A42B3-C875-7246-A333-E68DA98D95DB}"/>
                </a:ext>
              </a:extLst>
            </p:cNvPr>
            <p:cNvGrpSpPr/>
            <p:nvPr userDrawn="1"/>
          </p:nvGrpSpPr>
          <p:grpSpPr>
            <a:xfrm>
              <a:off x="-1017" y="1611038"/>
              <a:ext cx="12183602" cy="4765991"/>
              <a:chOff x="-1017" y="1611038"/>
              <a:chExt cx="12183602" cy="4765991"/>
            </a:xfrm>
          </p:grpSpPr>
          <p:sp>
            <p:nvSpPr>
              <p:cNvPr id="88" name="Rectangle 87">
                <a:extLst>
                  <a:ext uri="{FF2B5EF4-FFF2-40B4-BE49-F238E27FC236}">
                    <a16:creationId xmlns:a16="http://schemas.microsoft.com/office/drawing/2014/main" id="{472291B4-31A1-FC4C-9218-CC71C5ECF3DC}"/>
                  </a:ext>
                </a:extLst>
              </p:cNvPr>
              <p:cNvSpPr/>
              <p:nvPr/>
            </p:nvSpPr>
            <p:spPr>
              <a:xfrm rot="16200000">
                <a:off x="8777293" y="3412639"/>
                <a:ext cx="156191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E9130DD8-37F0-BF47-8443-E9DE9187AB2F}"/>
                  </a:ext>
                </a:extLst>
              </p:cNvPr>
              <p:cNvSpPr/>
              <p:nvPr userDrawn="1"/>
            </p:nvSpPr>
            <p:spPr>
              <a:xfrm rot="16200000">
                <a:off x="8952361" y="3354283"/>
                <a:ext cx="1445206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0CD89C06-927B-1048-857D-F555B58E9E09}"/>
                  </a:ext>
                </a:extLst>
              </p:cNvPr>
              <p:cNvSpPr/>
              <p:nvPr/>
            </p:nvSpPr>
            <p:spPr>
              <a:xfrm rot="18900000">
                <a:off x="9095325" y="1611038"/>
                <a:ext cx="301327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57E0C0AC-9BA1-214B-8145-543EE42ED6E9}"/>
                  </a:ext>
                </a:extLst>
              </p:cNvPr>
              <p:cNvSpPr/>
              <p:nvPr userDrawn="1"/>
            </p:nvSpPr>
            <p:spPr>
              <a:xfrm rot="18900000">
                <a:off x="9227663" y="1672933"/>
                <a:ext cx="2954922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D4538913-9335-E444-BF4E-F794A08ED497}"/>
                  </a:ext>
                </a:extLst>
              </p:cNvPr>
              <p:cNvSpPr/>
              <p:nvPr/>
            </p:nvSpPr>
            <p:spPr>
              <a:xfrm>
                <a:off x="-1017" y="6143607"/>
                <a:ext cx="1172392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2" name="Rectangle 101">
                <a:extLst>
                  <a:ext uri="{FF2B5EF4-FFF2-40B4-BE49-F238E27FC236}">
                    <a16:creationId xmlns:a16="http://schemas.microsoft.com/office/drawing/2014/main" id="{B0E2A164-33EF-A54E-9F2D-524ABD561FD8}"/>
                  </a:ext>
                </a:extLst>
              </p:cNvPr>
              <p:cNvSpPr/>
              <p:nvPr userDrawn="1"/>
            </p:nvSpPr>
            <p:spPr>
              <a:xfrm>
                <a:off x="-1017" y="6260318"/>
                <a:ext cx="1184210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4" name="Rectangle 103">
                <a:extLst>
                  <a:ext uri="{FF2B5EF4-FFF2-40B4-BE49-F238E27FC236}">
                    <a16:creationId xmlns:a16="http://schemas.microsoft.com/office/drawing/2014/main" id="{84A060C7-32C6-3044-9FCC-1367B695FF14}"/>
                  </a:ext>
                </a:extLst>
              </p:cNvPr>
              <p:cNvSpPr/>
              <p:nvPr/>
            </p:nvSpPr>
            <p:spPr>
              <a:xfrm rot="16200000">
                <a:off x="10610640" y="5133287"/>
                <a:ext cx="2112803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5" name="Rectangle 104">
                <a:extLst>
                  <a:ext uri="{FF2B5EF4-FFF2-40B4-BE49-F238E27FC236}">
                    <a16:creationId xmlns:a16="http://schemas.microsoft.com/office/drawing/2014/main" id="{A19BE616-B0FC-664F-8D2F-6A3F97AB1633}"/>
                  </a:ext>
                </a:extLst>
              </p:cNvPr>
              <p:cNvSpPr/>
              <p:nvPr userDrawn="1"/>
            </p:nvSpPr>
            <p:spPr>
              <a:xfrm rot="16200000">
                <a:off x="10604504" y="5139423"/>
                <a:ext cx="2358498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5EF27DDE-4D35-EC48-99B6-93AD172168ED}"/>
                  </a:ext>
                </a:extLst>
              </p:cNvPr>
              <p:cNvSpPr/>
              <p:nvPr/>
            </p:nvSpPr>
            <p:spPr>
              <a:xfrm rot="10800000">
                <a:off x="9509673" y="4135243"/>
                <a:ext cx="221323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8" name="Rectangle 107">
                <a:extLst>
                  <a:ext uri="{FF2B5EF4-FFF2-40B4-BE49-F238E27FC236}">
                    <a16:creationId xmlns:a16="http://schemas.microsoft.com/office/drawing/2014/main" id="{5B9AE42F-8A3D-BD41-8E8C-B03D6F2AABFD}"/>
                  </a:ext>
                </a:extLst>
              </p:cNvPr>
              <p:cNvSpPr/>
              <p:nvPr userDrawn="1"/>
            </p:nvSpPr>
            <p:spPr>
              <a:xfrm rot="10800000">
                <a:off x="9616608" y="4018531"/>
                <a:ext cx="221323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8018B7F2-7545-1A40-8767-8909D3F4819C}"/>
                </a:ext>
              </a:extLst>
            </p:cNvPr>
            <p:cNvGrpSpPr/>
            <p:nvPr userDrawn="1"/>
          </p:nvGrpSpPr>
          <p:grpSpPr>
            <a:xfrm>
              <a:off x="10912844" y="498906"/>
              <a:ext cx="932229" cy="932361"/>
              <a:chOff x="10912844" y="498906"/>
              <a:chExt cx="932229" cy="932361"/>
            </a:xfrm>
          </p:grpSpPr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86F24CA8-7119-C74B-961C-0D182044791D}"/>
                  </a:ext>
                </a:extLst>
              </p:cNvPr>
              <p:cNvGrpSpPr/>
              <p:nvPr userDrawn="1"/>
            </p:nvGrpSpPr>
            <p:grpSpPr>
              <a:xfrm>
                <a:off x="10915811" y="498906"/>
                <a:ext cx="929262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0" name="Parallelogram 39">
                  <a:extLst>
                    <a:ext uri="{FF2B5EF4-FFF2-40B4-BE49-F238E27FC236}">
                      <a16:creationId xmlns:a16="http://schemas.microsoft.com/office/drawing/2014/main" id="{4ECDA969-3B93-0041-8812-9414A9750FCE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1" name="Parallelogram 40">
                  <a:extLst>
                    <a:ext uri="{FF2B5EF4-FFF2-40B4-BE49-F238E27FC236}">
                      <a16:creationId xmlns:a16="http://schemas.microsoft.com/office/drawing/2014/main" id="{CA5C2512-C76D-6E41-8E09-02263D12AC03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7" name="Group 36">
                <a:extLst>
                  <a:ext uri="{FF2B5EF4-FFF2-40B4-BE49-F238E27FC236}">
                    <a16:creationId xmlns:a16="http://schemas.microsoft.com/office/drawing/2014/main" id="{2E6F009D-4DD9-1445-882C-05B6CB71001E}"/>
                  </a:ext>
                </a:extLst>
              </p:cNvPr>
              <p:cNvGrpSpPr/>
              <p:nvPr userDrawn="1"/>
            </p:nvGrpSpPr>
            <p:grpSpPr>
              <a:xfrm>
                <a:off x="10912844" y="609246"/>
                <a:ext cx="823347" cy="822021"/>
                <a:chOff x="3966636" y="2277354"/>
                <a:chExt cx="823347" cy="822021"/>
              </a:xfrm>
              <a:solidFill>
                <a:srgbClr val="E21A23"/>
              </a:solidFill>
            </p:grpSpPr>
            <p:sp>
              <p:nvSpPr>
                <p:cNvPr id="38" name="Parallelogram 61">
                  <a:extLst>
                    <a:ext uri="{FF2B5EF4-FFF2-40B4-BE49-F238E27FC236}">
                      <a16:creationId xmlns:a16="http://schemas.microsoft.com/office/drawing/2014/main" id="{4FF1D96C-C26A-D247-B296-2D1B409294A0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" name="Parallelogram 61">
                  <a:extLst>
                    <a:ext uri="{FF2B5EF4-FFF2-40B4-BE49-F238E27FC236}">
                      <a16:creationId xmlns:a16="http://schemas.microsoft.com/office/drawing/2014/main" id="{5610441A-E740-F54A-80F8-0C5A74DE2B3B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  <p:sp>
        <p:nvSpPr>
          <p:cNvPr id="58" name="Rectangle 57">
            <a:extLst>
              <a:ext uri="{FF2B5EF4-FFF2-40B4-BE49-F238E27FC236}">
                <a16:creationId xmlns:a16="http://schemas.microsoft.com/office/drawing/2014/main" id="{1D270C0A-6D12-D543-BBDC-13F13EEF7D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bg2"/>
          </a:solidFill>
          <a:ln w="9525">
            <a:solidFill>
              <a:srgbClr val="0833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D1AB0CE1-8D6D-7448-B8CE-6354B4485C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chemeClr val="bg2"/>
          </a:solidFill>
          <a:ln w="9525">
            <a:solidFill>
              <a:srgbClr val="0833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62B1EA1F-4CEF-8943-B26B-D2EE7BECA27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3" name="Numeral Date">
            <a:extLst>
              <a:ext uri="{FF2B5EF4-FFF2-40B4-BE49-F238E27FC236}">
                <a16:creationId xmlns:a16="http://schemas.microsoft.com/office/drawing/2014/main" id="{C75370B1-A29C-D045-93FF-A3FF43E45D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44" name="Name &amp; Surname">
            <a:extLst>
              <a:ext uri="{FF2B5EF4-FFF2-40B4-BE49-F238E27FC236}">
                <a16:creationId xmlns:a16="http://schemas.microsoft.com/office/drawing/2014/main" id="{0FC2ACD5-DFC3-DC4A-AD29-579EDAF07FE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60" name="Subtitle">
            <a:extLst>
              <a:ext uri="{FF2B5EF4-FFF2-40B4-BE49-F238E27FC236}">
                <a16:creationId xmlns:a16="http://schemas.microsoft.com/office/drawing/2014/main" id="{360FC992-BC0C-6F41-B636-9B86C8738C2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33" name="Title 2">
            <a:extLst>
              <a:ext uri="{FF2B5EF4-FFF2-40B4-BE49-F238E27FC236}">
                <a16:creationId xmlns:a16="http://schemas.microsoft.com/office/drawing/2014/main" id="{2EA7844D-0BD6-CD4D-8958-F02051CF3E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56" name="Picture 55" descr="McGraw Hill red cube Logo">
            <a:extLst>
              <a:ext uri="{FF2B5EF4-FFF2-40B4-BE49-F238E27FC236}">
                <a16:creationId xmlns:a16="http://schemas.microsoft.com/office/drawing/2014/main" id="{FB8ADFE6-C4A2-E14F-8FFD-6019DBA618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71555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o Slide_Individual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8DFB25E2-62AC-989D-869E-A1139CC820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rgbClr val="092467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A210F576-544A-CEAC-3E61-8A8D67FDB6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57047" y="268985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0"/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Body Text">
            <a:extLst>
              <a:ext uri="{FF2B5EF4-FFF2-40B4-BE49-F238E27FC236}">
                <a16:creationId xmlns:a16="http://schemas.microsoft.com/office/drawing/2014/main" id="{1DA6AA1F-7BBE-D1AD-AD1F-C4AFC62C941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57047" y="3172844"/>
            <a:ext cx="5307918" cy="8276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/>
            </a:lvl1pPr>
          </a:lstStyle>
          <a:p>
            <a:pPr lvl="0"/>
            <a:r>
              <a:rPr lang="en-US"/>
              <a:t>(Description of responsibilities)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1E4CAEF0-50E4-ADAC-E4A7-03D572F8956D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29C2F1D-5554-DDC9-02AE-906934B59A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047" y="2094403"/>
            <a:ext cx="5422996" cy="74823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30005333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431BC4-FA1F-4029-B4CB-B47323FFB8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8DF5675-32B7-4D35-AE2B-978AE1197D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15AD0C-07DB-4418-8107-789D281B336C}" type="datetimeFigureOut">
              <a:rPr lang="en-US" smtClean="0"/>
              <a:t>5/30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100748-5877-469E-9BCE-C929CDCDD7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D72884F-AEA2-4D7C-BC30-0D072C6B29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9BA0C4-6567-459F-93BF-7D480B1847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97038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Full Bleed Image_RED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ollege student in a hoodie and jean jacket smiles broadly at something across the classroom.">
            <a:extLst>
              <a:ext uri="{FF2B5EF4-FFF2-40B4-BE49-F238E27FC236}">
                <a16:creationId xmlns:a16="http://schemas.microsoft.com/office/drawing/2014/main" id="{D3FBABBA-EFFB-8723-4DFB-B88365F2D5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63"/>
            <a:ext cx="12192000" cy="685173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3B1A09C3-C221-5247-95D0-510AEE25B7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Display Date">
            <a:extLst>
              <a:ext uri="{FF2B5EF4-FFF2-40B4-BE49-F238E27FC236}">
                <a16:creationId xmlns:a16="http://schemas.microsoft.com/office/drawing/2014/main" id="{AB73912B-6039-1040-8EEA-A96C885983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2" y="5893085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6" name="Name &amp; Surname">
            <a:extLst>
              <a:ext uri="{FF2B5EF4-FFF2-40B4-BE49-F238E27FC236}">
                <a16:creationId xmlns:a16="http://schemas.microsoft.com/office/drawing/2014/main" id="{E00230D1-031F-1540-AAE8-BEEEB0C2CC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2" y="5508815"/>
            <a:ext cx="2954336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473FF405-19A5-2B49-9177-D4AA443302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8F299F7E-7821-614A-83A4-8369943FC2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9" name="Picture 8" descr="McGraw Hill red cube logo ">
            <a:extLst>
              <a:ext uri="{FF2B5EF4-FFF2-40B4-BE49-F238E27FC236}">
                <a16:creationId xmlns:a16="http://schemas.microsoft.com/office/drawing/2014/main" id="{91FA0969-9821-8F42-A427-8BF01C4751A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9634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op Nav">
            <a:extLst>
              <a:ext uri="{FF2B5EF4-FFF2-40B4-BE49-F238E27FC236}">
                <a16:creationId xmlns:a16="http://schemas.microsoft.com/office/drawing/2014/main" id="{E4D20FAE-37C6-C749-A4C0-1C7EB7AFC4CD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AC79D01-1491-1A46-B0B6-F2FEBC1BAC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9130"/>
            <a:ext cx="4086451" cy="4068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B404AE-4E2C-6049-95E3-193B665C26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DA8190D2-E978-6643-BCB2-60CDE40B83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5B59F53A-E8CF-1C40-B445-91F374C88B6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49255ED6-FF99-7C4C-872F-AE85277294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06871" cy="8874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AA788A84-57E8-A34B-9A7A-191EA5DB557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B745550E-7BE1-494D-B44D-4932A01F337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1" name="Call out box">
            <a:extLst>
              <a:ext uri="{FF2B5EF4-FFF2-40B4-BE49-F238E27FC236}">
                <a16:creationId xmlns:a16="http://schemas.microsoft.com/office/drawing/2014/main" id="{959AF58F-8047-4A4F-B1B7-E6B18CF6AF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24461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GHT BLUE o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DB41E570-CA75-A746-B954-43B4FA2F75C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5D6D3B9-5F57-4D46-94D5-27811194DC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9130"/>
            <a:ext cx="4086451" cy="406829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79EF590-E588-8B41-AF56-718C495BBF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8B0874C-8B01-C74F-A1E1-E491D257E0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FC8C3A12-05AB-384D-B38A-AA60F17D987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D895255C-5C21-B44A-9272-4243F8BCCC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13448" cy="88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0" name="Subtitle">
            <a:extLst>
              <a:ext uri="{FF2B5EF4-FFF2-40B4-BE49-F238E27FC236}">
                <a16:creationId xmlns:a16="http://schemas.microsoft.com/office/drawing/2014/main" id="{19F8877B-D18D-CF4F-A4B3-5626E1DDC4F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24804DEE-1D02-2343-BFAA-2C9772B1556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21" name="Call out Box">
            <a:extLst>
              <a:ext uri="{FF2B5EF4-FFF2-40B4-BE49-F238E27FC236}">
                <a16:creationId xmlns:a16="http://schemas.microsoft.com/office/drawing/2014/main" id="{B084D13F-DF47-7449-946E-30E399B431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5874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88798B9-84E2-EE4D-837A-4C3149D62E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8662"/>
            <a:ext cx="4086451" cy="40682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F24543A-2943-E144-B0C9-4FF147982F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4900E18-72F0-D846-B39B-92BEB7B4C2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25EA957-D2E1-084E-8256-651E3AD57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A8E5E85-12FB-CF4F-8F55-864987A9A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06871" cy="88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1AA82C71-2310-B94F-83E7-85F9DDAE2F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F8CA0EEE-48D2-E543-8BF2-48FA2307D3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4" name="Call out box">
            <a:extLst>
              <a:ext uri="{FF2B5EF4-FFF2-40B4-BE49-F238E27FC236}">
                <a16:creationId xmlns:a16="http://schemas.microsoft.com/office/drawing/2014/main" id="{AE11AB8B-B566-2644-B60E-0DB3F72ACC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28411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-Out Box_GRAY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op Nav">
            <a:extLst>
              <a:ext uri="{FF2B5EF4-FFF2-40B4-BE49-F238E27FC236}">
                <a16:creationId xmlns:a16="http://schemas.microsoft.com/office/drawing/2014/main" id="{FC231581-4C30-CC44-97C7-AF37930886B5}"/>
              </a:ext>
            </a:extLst>
          </p:cNvPr>
          <p:cNvSpPr/>
          <p:nvPr userDrawn="1"/>
        </p:nvSpPr>
        <p:spPr>
          <a:xfrm>
            <a:off x="8105548" y="728663"/>
            <a:ext cx="4086452" cy="4068295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5D441DD-A5DD-674E-B805-796E0DCE87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4900E18-72F0-D846-B39B-92BEB7B4C2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25EA957-D2E1-084E-8256-651E3AD57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C6AF6692-F0B1-984D-AAE3-766630556B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06871" cy="8874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1AA82C71-2310-B94F-83E7-85F9DDAE2F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F8CA0EEE-48D2-E543-8BF2-48FA2307D3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1" name="Call out box">
            <a:extLst>
              <a:ext uri="{FF2B5EF4-FFF2-40B4-BE49-F238E27FC236}">
                <a16:creationId xmlns:a16="http://schemas.microsoft.com/office/drawing/2014/main" id="{77BBF566-40CB-864A-B2E3-96B94E6B17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AECED608-F065-4D58-B7C8-0C1C936EBB3A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5371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-Out Box_RED on CARB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op Nav">
            <a:extLst>
              <a:ext uri="{FF2B5EF4-FFF2-40B4-BE49-F238E27FC236}">
                <a16:creationId xmlns:a16="http://schemas.microsoft.com/office/drawing/2014/main" id="{5632E63E-8B1B-134B-9EA1-CD9ACBB6716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88798B9-84E2-EE4D-837A-4C3149D62E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8662"/>
            <a:ext cx="4086451" cy="4068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077483-4A49-AA4B-8B2E-9115C1ECC2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4900E18-72F0-D846-B39B-92BEB7B4C2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25EA957-D2E1-084E-8256-651E3AD57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B93D016-9E70-8F45-AA00-97F5080F2D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13448" cy="88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1AA82C71-2310-B94F-83E7-85F9DDAE2F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F8CA0EEE-48D2-E543-8BF2-48FA2307D3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4" name="Call out box">
            <a:extLst>
              <a:ext uri="{FF2B5EF4-FFF2-40B4-BE49-F238E27FC236}">
                <a16:creationId xmlns:a16="http://schemas.microsoft.com/office/drawing/2014/main" id="{AE11AB8B-B566-2644-B60E-0DB3F72ACC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9663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RED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3B1A09C3-C221-5247-95D0-510AEE25B7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45B405-5520-D342-BFF1-B356801142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8" name="Chapter Title">
            <a:extLst>
              <a:ext uri="{FF2B5EF4-FFF2-40B4-BE49-F238E27FC236}">
                <a16:creationId xmlns:a16="http://schemas.microsoft.com/office/drawing/2014/main" id="{84EF5F22-40A4-F34C-9AAE-3BE16DC4D8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0" name="Pg">
            <a:extLst>
              <a:ext uri="{FF2B5EF4-FFF2-40B4-BE49-F238E27FC236}">
                <a16:creationId xmlns:a16="http://schemas.microsoft.com/office/drawing/2014/main" id="{9E56A7A9-2EA7-8342-A088-17D4FCB6BD7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280C8E3-777D-544D-80D5-B7791BC58B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17A9CB7-967C-C743-9745-5972400AEAA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6869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BLUE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C0B215F-CC30-5D4D-8CBD-8143A5F9B7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7217A81-5A2C-1C46-B732-6D8F752FE7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9" name="Chapter Title">
            <a:extLst>
              <a:ext uri="{FF2B5EF4-FFF2-40B4-BE49-F238E27FC236}">
                <a16:creationId xmlns:a16="http://schemas.microsoft.com/office/drawing/2014/main" id="{C868D27C-4A66-3D40-B6D9-DA3C3E77BF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1" name="Pg">
            <a:extLst>
              <a:ext uri="{FF2B5EF4-FFF2-40B4-BE49-F238E27FC236}">
                <a16:creationId xmlns:a16="http://schemas.microsoft.com/office/drawing/2014/main" id="{6307E64D-ABD6-964C-A9ED-0F2BC5F5DFCC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74E7FBC-DBF4-A843-BCC8-3AABD2752B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3932ECF-C481-0042-9C4B-69AC0151F6C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03139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VIOLET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1327E40-7AE9-D645-B4A9-1806BB82E5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24E95-DAF4-C047-A8A8-63805777AB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4517ED0-C392-6B42-8C16-10ABCE9124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1" name="Pg">
            <a:extLst>
              <a:ext uri="{FF2B5EF4-FFF2-40B4-BE49-F238E27FC236}">
                <a16:creationId xmlns:a16="http://schemas.microsoft.com/office/drawing/2014/main" id="{1E2BD2C9-3898-8F41-A4FA-41AA87FB2AA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9A2B021-614E-CC4D-9416-F375CF1D86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918D5D-8AA4-3844-A0DB-F33D1F9E638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75582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GRAY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9A50EBF1-7D5E-3747-8077-326AF31A95C4}"/>
              </a:ext>
            </a:extLst>
          </p:cNvPr>
          <p:cNvSpPr/>
          <p:nvPr userDrawn="1"/>
        </p:nvSpPr>
        <p:spPr>
          <a:xfrm>
            <a:off x="8112124" y="2744788"/>
            <a:ext cx="4079875" cy="4113211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62A26EE-2250-A34C-87BB-A0544E4652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4517ED0-C392-6B42-8C16-10ABCE9124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1" name="Pg">
            <a:extLst>
              <a:ext uri="{FF2B5EF4-FFF2-40B4-BE49-F238E27FC236}">
                <a16:creationId xmlns:a16="http://schemas.microsoft.com/office/drawing/2014/main" id="{1E2BD2C9-3898-8F41-A4FA-41AA87FB2AA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24A7980-45D8-784D-8E4F-0D0053671D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388F2E5B-FAE3-7C4A-9B56-8232512481C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86937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BF5C9CE-D32E-5541-B85A-FA6797185C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4D7288D-C250-DA4D-944D-CBA7BA328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13171B07-0311-7047-85E4-7F1892F0E92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D9ECAC6B-55DF-3941-B806-4599F63175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56B22538-7C5A-A647-910D-69804A260B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1545BC8-C647-F044-8E45-C6217831E34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665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Full Bleed Image_RED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3 children sit cross-legged on a library's floor as a book is read to them. Their faces show they are engaged with each other and the story.&#10;">
            <a:extLst>
              <a:ext uri="{FF2B5EF4-FFF2-40B4-BE49-F238E27FC236}">
                <a16:creationId xmlns:a16="http://schemas.microsoft.com/office/drawing/2014/main" id="{E7890813-9A2C-C445-8885-75DF0271E8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62"/>
            <a:ext cx="12192000" cy="6851738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3B1A09C3-C221-5247-95D0-510AEE25B7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Display Date">
            <a:extLst>
              <a:ext uri="{FF2B5EF4-FFF2-40B4-BE49-F238E27FC236}">
                <a16:creationId xmlns:a16="http://schemas.microsoft.com/office/drawing/2014/main" id="{AB73912B-6039-1040-8EEA-A96C885983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2" y="5893085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6" name="Name &amp; Surname">
            <a:extLst>
              <a:ext uri="{FF2B5EF4-FFF2-40B4-BE49-F238E27FC236}">
                <a16:creationId xmlns:a16="http://schemas.microsoft.com/office/drawing/2014/main" id="{E00230D1-031F-1540-AAE8-BEEEB0C2CC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2" y="5508815"/>
            <a:ext cx="2954336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473FF405-19A5-2B49-9177-D4AA443302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8F299F7E-7821-614A-83A4-8369943FC2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9" name="Picture 8" descr="McGraw Hill red cube logo ">
            <a:extLst>
              <a:ext uri="{FF2B5EF4-FFF2-40B4-BE49-F238E27FC236}">
                <a16:creationId xmlns:a16="http://schemas.microsoft.com/office/drawing/2014/main" id="{91FA0969-9821-8F42-A427-8BF01C4751A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6975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89FB6B-4E4C-9945-8D76-D4163E41BB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BED6375A-D484-F047-8EE7-94EE16B17B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6932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F53538-1E06-AD4F-B660-530EE363B8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DFE8DBA8-3886-D840-99D3-91E700FD03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942A5A9-5D2B-874B-85C2-0FB2FF90394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90803EF-B185-1A4B-AEB0-EB63A68BFA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0E12685E-9A34-D043-B3F4-B6002C815ED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21F6CFC0-4321-7D4C-8CA0-F170D87ABDF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6377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96FB7D-BC9F-1346-A5B7-84DCD85FC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E3B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D857EF-54C6-E245-8DC5-BB2E357508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D467B54B-9FE7-4E4F-98D9-60E36D1BC2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3390C15C-09AA-6441-8E32-6860B2A5815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F03ADE6-71A7-C548-9F6E-82FDBBD6C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accent4">
                    <a:lumMod val="25000"/>
                  </a:schemeClr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64F83AE8-A8B8-434F-AA98-B36F5C5B98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2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u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ipiscing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ed diam non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ncidun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e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magn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utp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. Dia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g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65A01FB2-D53F-9144-9E6D-230FE757F09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0724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44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BEFBCB-AB08-7140-8567-4FD4D04CAD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4D7288D-C250-DA4D-944D-CBA7BA328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13171B07-0311-7047-85E4-7F1892F0E92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0C06EC2B-3880-F14F-AE7E-34F53ED22B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56B22538-7C5A-A647-910D-69804A260B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2027" y="1736725"/>
            <a:ext cx="3807947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1545BC8-C647-F044-8E45-C6217831E34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999974" y="1749425"/>
            <a:ext cx="419202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4581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FB85C7-7209-144C-8D24-339DFB0EC3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EAEF899C-3DCF-8C49-9396-92C59D4A49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451" y="1736725"/>
            <a:ext cx="3919783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06234" y="1749425"/>
            <a:ext cx="418576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97574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5F642D6-3553-324F-921E-A1CD808FEC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DFE8DBA8-3886-D840-99D3-91E700FD03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942A5A9-5D2B-874B-85C2-0FB2FF90394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CC77AEF-848E-1B4D-806C-A42A975189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FE6FF244-ECCD-FB4B-888A-4E5725DEDCD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451" y="1736725"/>
            <a:ext cx="3919783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EE8CE71D-FD18-3C4F-A0F0-3D4D2F934A3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06234" y="1749425"/>
            <a:ext cx="418576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28565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D857EF-54C6-E245-8DC5-BB2E357508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D467B54B-9FE7-4E4F-98D9-60E36D1BC2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3390C15C-09AA-6441-8E32-6860B2A5815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5E37CA6-007B-07DA-14EA-257D66F241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" name="Pg">
            <a:extLst>
              <a:ext uri="{FF2B5EF4-FFF2-40B4-BE49-F238E27FC236}">
                <a16:creationId xmlns:a16="http://schemas.microsoft.com/office/drawing/2014/main" id="{AEE4B3C3-6D78-A2BC-C1D1-633EC0B75BB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EF04848-82E9-8D9E-EDA9-0D1BEFB2B6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8" name="Body Text">
            <a:extLst>
              <a:ext uri="{FF2B5EF4-FFF2-40B4-BE49-F238E27FC236}">
                <a16:creationId xmlns:a16="http://schemas.microsoft.com/office/drawing/2014/main" id="{F46D2F08-BFA1-323D-8041-A4B3D061EF6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451" y="1736725"/>
            <a:ext cx="3919783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amet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adipiscing elit, sed diam non </a:t>
            </a:r>
            <a:r>
              <a:rPr lang="en-US" err="1"/>
              <a:t>ummy</a:t>
            </a:r>
            <a:r>
              <a:rPr lang="en-US"/>
              <a:t> nibh euismo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Tincidunt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erat volutpat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amet, elit sed. Diam nonummy nibh euismod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5FC09504-150C-61B2-5FFF-68F698B29B2D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06234" y="1749425"/>
            <a:ext cx="418576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3186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44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WHITE on RED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79875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14B6D6C-C29B-A548-A31E-1599E90232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4D7288D-C250-DA4D-944D-CBA7BA328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13171B07-0311-7047-85E4-7F1892F0E92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B65A249-F039-1443-8CC7-E8D46EA69B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864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56B22538-7C5A-A647-910D-69804A260B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1545BC8-C647-F044-8E45-C6217831E34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1749425"/>
            <a:ext cx="4079875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91817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RED on GRAY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79875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0ACFF1-F760-9646-978E-A45F7A2F22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F07E239-B479-4B49-A66C-67B5E5D8E5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69036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-6576" y="1749425"/>
            <a:ext cx="4086451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42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BLUE on GRAY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47323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79875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F039C16-092F-A740-B960-ADDCD3D911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DFE8DBA8-3886-D840-99D3-91E700FD03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942A5A9-5D2B-874B-85C2-0FB2FF90394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E21EE8B-6895-1B4A-9E48-4992928A95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1935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21F6CFC0-4321-7D4C-8CA0-F170D87ABDF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1749425"/>
            <a:ext cx="4102551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0E12685E-9A34-D043-B3F4-B6002C815ED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52487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Full Bleed Image_BLU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In the middle of his classroom, an elementary school teacher leans down to point at a student's paper. The boy holds a red pencil and smiles at his work.">
            <a:extLst>
              <a:ext uri="{FF2B5EF4-FFF2-40B4-BE49-F238E27FC236}">
                <a16:creationId xmlns:a16="http://schemas.microsoft.com/office/drawing/2014/main" id="{E41C6DCE-1CEF-5CFA-D3FF-5A71CA239D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7206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C0B215F-CC30-5D4D-8CBD-8143A5F9B7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Display Date">
            <a:extLst>
              <a:ext uri="{FF2B5EF4-FFF2-40B4-BE49-F238E27FC236}">
                <a16:creationId xmlns:a16="http://schemas.microsoft.com/office/drawing/2014/main" id="{7F129D7E-B24B-D243-8677-D2E88D580E8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1" name="Name &amp; Surname">
            <a:extLst>
              <a:ext uri="{FF2B5EF4-FFF2-40B4-BE49-F238E27FC236}">
                <a16:creationId xmlns:a16="http://schemas.microsoft.com/office/drawing/2014/main" id="{958D4D3F-3519-B04D-A7AB-B2717A8E5D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59209D60-98AC-A347-9518-252F7F6486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1" y="4486707"/>
            <a:ext cx="2760436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813217E5-B63E-6E47-AB63-FCA8E4388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5" name="Picture 14" descr="McGraw Hill red cube logo ">
            <a:extLst>
              <a:ext uri="{FF2B5EF4-FFF2-40B4-BE49-F238E27FC236}">
                <a16:creationId xmlns:a16="http://schemas.microsoft.com/office/drawing/2014/main" id="{55C15131-0BCC-E64D-88F8-AA080E056C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7471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8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LIGHT VIOLET on VIOLET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96FB7D-BC9F-1346-A5B7-84DCD85FC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38600" y="1750105"/>
            <a:ext cx="4086451" cy="4086451"/>
          </a:xfrm>
          <a:prstGeom prst="rect">
            <a:avLst/>
          </a:prstGeom>
          <a:solidFill>
            <a:srgbClr val="E3B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E0767D-8A25-6C4A-8364-3B7A3F82FA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D467B54B-9FE7-4E4F-98D9-60E36D1BC2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3390C15C-09AA-6441-8E32-6860B2A5815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B463D1A8-1111-114B-9890-0CE0E14B7D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1935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65A01FB2-D53F-9144-9E6D-230FE757F09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1749425"/>
            <a:ext cx="40386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64F83AE8-A8B8-434F-AA98-B36F5C5B98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2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u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ipiscing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ed diam non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ncidun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e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magn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utp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. Dia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g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64119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44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260F9E-07AF-6041-980F-7BA9115C09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5DC50E46-D1E3-BA46-B0BD-6C842CD589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B8F9C1D-0289-1A42-AF78-E70116C939D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106F7C5-7A97-E444-BFB0-CF29BEA88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" name="Body Text">
            <a:extLst>
              <a:ext uri="{FF2B5EF4-FFF2-40B4-BE49-F238E27FC236}">
                <a16:creationId xmlns:a16="http://schemas.microsoft.com/office/drawing/2014/main" id="{3F162B5C-891C-0B44-A2E9-6A1FC9970C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adipiscing elit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amet, elit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21502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096C25C-4E0B-8F45-A598-DEBA7C70A1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0" name="Chapter Title">
            <a:extLst>
              <a:ext uri="{FF2B5EF4-FFF2-40B4-BE49-F238E27FC236}">
                <a16:creationId xmlns:a16="http://schemas.microsoft.com/office/drawing/2014/main" id="{2695B54C-C4F8-924F-88E8-1F8C161808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7A5D2E48-E60F-5D4A-A477-CBD140170AB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46516CC-87F2-EF46-9DE4-E73DBE2F3B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7E84D754-ABE1-8845-ABAC-A3C9071350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60051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9089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LIGHT VIOLET on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96FB7D-BC9F-1346-A5B7-84DCD85FC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E3B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B3ECB7-D9C5-7546-A06E-9CF6F67D23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20D7435D-F882-234A-BBC8-20C90114E1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C5FA2283-2471-EA4B-8E96-CF81D742253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D95F659-D768-DA4C-A100-D623125B2D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C3F0DC8F-100D-6D40-8AA6-0019D1E024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01546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with Bullets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C6DC658-BECF-B54E-AC16-9CF646F90F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5DC50E46-D1E3-BA46-B0BD-6C842CD589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B8F9C1D-0289-1A42-AF78-E70116C939D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CBAEEB7-4D07-4E47-9AD6-1302A0606B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3400" y="1755386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854C5140-16E5-5B49-8707-20A9139FD7A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42375" y="1749425"/>
            <a:ext cx="4122250" cy="409257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Body Text">
            <a:extLst>
              <a:ext uri="{FF2B5EF4-FFF2-40B4-BE49-F238E27FC236}">
                <a16:creationId xmlns:a16="http://schemas.microsoft.com/office/drawing/2014/main" id="{3F162B5C-891C-0B44-A2E9-6A1FC9970C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2488891"/>
            <a:ext cx="7081838" cy="3348347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5011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Bullets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3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AEA48F-3B08-6D49-AAE9-9E6A4A5E47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1E73F80A-1813-DA4F-8DE2-64EB7F213B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C5FA2283-2471-EA4B-8E96-CF81D742253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A36B83B-6BD2-D144-A9FF-1152262C28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3400" y="1755386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C3F0DC8F-100D-6D40-8AA6-0019D1E024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2508547"/>
            <a:ext cx="7081838" cy="3328692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7156F9C9-D4B2-4542-B1D5-6C51BC91E55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42375" y="1749425"/>
            <a:ext cx="412225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6054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with Bullets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2D75399-CE4F-B348-BAB4-FC82DF0607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0" name="Chapter Title">
            <a:extLst>
              <a:ext uri="{FF2B5EF4-FFF2-40B4-BE49-F238E27FC236}">
                <a16:creationId xmlns:a16="http://schemas.microsoft.com/office/drawing/2014/main" id="{2695B54C-C4F8-924F-88E8-1F8C161808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7A5D2E48-E60F-5D4A-A477-CBD140170AB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5F10BB2-BD13-C546-AA6B-50B0925DB9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3400" y="1755386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7E84D754-ABE1-8845-ABAC-A3C9071350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2508545"/>
            <a:ext cx="7081838" cy="332869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37111FFF-42FA-CE45-BFD6-0F5263B7875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42375" y="1749425"/>
            <a:ext cx="4122250" cy="40925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5999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ext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7F32332A-D1E5-0344-8F4A-15782F24E2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1205032"/>
            <a:ext cx="11851251" cy="5142543"/>
            <a:chOff x="-14169" y="507347"/>
            <a:chExt cx="11851251" cy="5142543"/>
          </a:xfrm>
          <a:solidFill>
            <a:schemeClr val="accent1"/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D639499-1066-AF40-AE90-26A09D51A0A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941F98C-5BFA-6740-9613-30D0EA32ABE5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A82A5495-6A16-7E4F-A10F-15796EDFE106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18" name="Parallelogram 17">
                <a:extLst>
                  <a:ext uri="{FF2B5EF4-FFF2-40B4-BE49-F238E27FC236}">
                    <a16:creationId xmlns:a16="http://schemas.microsoft.com/office/drawing/2014/main" id="{621988DE-95DC-EE45-B046-15D64BBAD7B4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8C4E5648-7B44-9343-B639-CE2FCAA69CE2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6DBC325-AACD-E348-B1CE-AA37A6B0B9C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7360358-6D06-CC44-8D16-DB5DC58495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0" name="Chapter Title">
            <a:extLst>
              <a:ext uri="{FF2B5EF4-FFF2-40B4-BE49-F238E27FC236}">
                <a16:creationId xmlns:a16="http://schemas.microsoft.com/office/drawing/2014/main" id="{7C7FF68D-EE65-2F48-93AE-190A7B1020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Pg">
            <a:extLst>
              <a:ext uri="{FF2B5EF4-FFF2-40B4-BE49-F238E27FC236}">
                <a16:creationId xmlns:a16="http://schemas.microsoft.com/office/drawing/2014/main" id="{74E3B440-1518-AF4D-8F84-A9675B04F0A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612D239-8581-4C4B-90B8-B54512088E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599A04D7-A149-394C-B40F-92490463FE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5F1C930-B750-C841-B8C0-548499F4AF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8681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200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ext_RED and LIGHT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roup 55">
            <a:extLst>
              <a:ext uri="{FF2B5EF4-FFF2-40B4-BE49-F238E27FC236}">
                <a16:creationId xmlns:a16="http://schemas.microsoft.com/office/drawing/2014/main" id="{5177BBD6-89E5-8A4C-A618-63E9F5266B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5031"/>
            <a:ext cx="11908923" cy="5164009"/>
            <a:chOff x="-13447" y="1205031"/>
            <a:chExt cx="11908923" cy="5164009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8A07E183-013B-4343-998D-88050E602673}"/>
                </a:ext>
              </a:extLst>
            </p:cNvPr>
            <p:cNvGrpSpPr/>
            <p:nvPr userDrawn="1"/>
          </p:nvGrpSpPr>
          <p:grpSpPr>
            <a:xfrm>
              <a:off x="10799406" y="1609994"/>
              <a:ext cx="1096070" cy="200297"/>
              <a:chOff x="10799406" y="1609994"/>
              <a:chExt cx="1096070" cy="200297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128CCC9-E183-EB47-863F-66E818DAF996}"/>
                  </a:ext>
                </a:extLst>
              </p:cNvPr>
              <p:cNvSpPr/>
              <p:nvPr userDrawn="1"/>
            </p:nvSpPr>
            <p:spPr>
              <a:xfrm rot="18900000">
                <a:off x="10799406" y="1609994"/>
                <a:ext cx="1013101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BE3AC1E5-E15F-2140-9827-AA174AFAE02C}"/>
                  </a:ext>
                </a:extLst>
              </p:cNvPr>
              <p:cNvSpPr/>
              <p:nvPr userDrawn="1"/>
            </p:nvSpPr>
            <p:spPr>
              <a:xfrm rot="18900000">
                <a:off x="10879377" y="1693580"/>
                <a:ext cx="101609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0780782-1930-9744-964A-B91E28E603A0}"/>
                </a:ext>
              </a:extLst>
            </p:cNvPr>
            <p:cNvGrpSpPr/>
            <p:nvPr userDrawn="1"/>
          </p:nvGrpSpPr>
          <p:grpSpPr>
            <a:xfrm>
              <a:off x="10894136" y="1205031"/>
              <a:ext cx="940179" cy="935947"/>
              <a:chOff x="10894136" y="1205031"/>
              <a:chExt cx="940179" cy="935947"/>
            </a:xfrm>
          </p:grpSpPr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45EC1281-6FEB-A14E-8D42-5C0399A71E23}"/>
                  </a:ext>
                </a:extLst>
              </p:cNvPr>
              <p:cNvGrpSpPr/>
              <p:nvPr userDrawn="1"/>
            </p:nvGrpSpPr>
            <p:grpSpPr>
              <a:xfrm>
                <a:off x="10896080" y="1205031"/>
                <a:ext cx="938235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7" name="Parallelogram 46">
                  <a:extLst>
                    <a:ext uri="{FF2B5EF4-FFF2-40B4-BE49-F238E27FC236}">
                      <a16:creationId xmlns:a16="http://schemas.microsoft.com/office/drawing/2014/main" id="{7D96E391-66F0-0645-9D24-AEA901FA1B2B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8" name="Parallelogram 47">
                  <a:extLst>
                    <a:ext uri="{FF2B5EF4-FFF2-40B4-BE49-F238E27FC236}">
                      <a16:creationId xmlns:a16="http://schemas.microsoft.com/office/drawing/2014/main" id="{0B1B1425-47C9-7C46-926A-21890752B4CD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5195C950-E43E-BE48-8808-D0948E9FAB67}"/>
                  </a:ext>
                </a:extLst>
              </p:cNvPr>
              <p:cNvGrpSpPr/>
              <p:nvPr userDrawn="1"/>
            </p:nvGrpSpPr>
            <p:grpSpPr>
              <a:xfrm>
                <a:off x="10894136" y="1318957"/>
                <a:ext cx="831297" cy="822021"/>
                <a:chOff x="3966636" y="2277354"/>
                <a:chExt cx="823347" cy="822021"/>
              </a:xfrm>
              <a:solidFill>
                <a:srgbClr val="06235B"/>
              </a:solidFill>
            </p:grpSpPr>
            <p:sp>
              <p:nvSpPr>
                <p:cNvPr id="45" name="Parallelogram 61">
                  <a:extLst>
                    <a:ext uri="{FF2B5EF4-FFF2-40B4-BE49-F238E27FC236}">
                      <a16:creationId xmlns:a16="http://schemas.microsoft.com/office/drawing/2014/main" id="{9DCC372B-6B4D-924C-A629-07FA51756A14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6" name="Parallelogram 61">
                  <a:extLst>
                    <a:ext uri="{FF2B5EF4-FFF2-40B4-BE49-F238E27FC236}">
                      <a16:creationId xmlns:a16="http://schemas.microsoft.com/office/drawing/2014/main" id="{C32C7223-D73E-5F40-B470-48EB281F38CE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3B25C319-2990-5F44-9E6C-9230EDFA1D64}"/>
                </a:ext>
              </a:extLst>
            </p:cNvPr>
            <p:cNvGrpSpPr/>
            <p:nvPr userDrawn="1"/>
          </p:nvGrpSpPr>
          <p:grpSpPr>
            <a:xfrm>
              <a:off x="-13447" y="6149065"/>
              <a:ext cx="11072003" cy="219975"/>
              <a:chOff x="-13447" y="6149065"/>
              <a:chExt cx="11072003" cy="219975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05832D2A-E5F4-3147-B1F2-0F66239A3AFE}"/>
                  </a:ext>
                </a:extLst>
              </p:cNvPr>
              <p:cNvSpPr/>
              <p:nvPr userDrawn="1"/>
            </p:nvSpPr>
            <p:spPr>
              <a:xfrm>
                <a:off x="-13446" y="6149065"/>
                <a:ext cx="1102110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71BE06FC-1F60-7648-8CD3-2993C5D1A6AB}"/>
                  </a:ext>
                </a:extLst>
              </p:cNvPr>
              <p:cNvSpPr/>
              <p:nvPr userDrawn="1"/>
            </p:nvSpPr>
            <p:spPr>
              <a:xfrm>
                <a:off x="-13447" y="6252329"/>
                <a:ext cx="11072003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E7E466A8-3EE2-8347-9B9C-FE56409F0248}"/>
                </a:ext>
              </a:extLst>
            </p:cNvPr>
            <p:cNvGrpSpPr/>
            <p:nvPr userDrawn="1"/>
          </p:nvGrpSpPr>
          <p:grpSpPr>
            <a:xfrm>
              <a:off x="10905626" y="1984376"/>
              <a:ext cx="221104" cy="4371214"/>
              <a:chOff x="10905626" y="1984376"/>
              <a:chExt cx="221104" cy="4371214"/>
            </a:xfrm>
          </p:grpSpPr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CB74D01D-AF7D-F546-9D97-25EB36CB7AB2}"/>
                  </a:ext>
                </a:extLst>
              </p:cNvPr>
              <p:cNvSpPr/>
              <p:nvPr userDrawn="1"/>
            </p:nvSpPr>
            <p:spPr>
              <a:xfrm rot="16200000">
                <a:off x="8837278" y="4052724"/>
                <a:ext cx="4254534" cy="11783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FDE4EF2A-625F-DE47-B16E-96317A6EF3C6}"/>
                  </a:ext>
                </a:extLst>
              </p:cNvPr>
              <p:cNvSpPr/>
              <p:nvPr userDrawn="1"/>
            </p:nvSpPr>
            <p:spPr>
              <a:xfrm rot="16200000">
                <a:off x="8907603" y="4136464"/>
                <a:ext cx="4320415" cy="117838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99DEEC-FB65-6B40-99C0-B38B502ABA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8" name="Chapter Title">
            <a:extLst>
              <a:ext uri="{FF2B5EF4-FFF2-40B4-BE49-F238E27FC236}">
                <a16:creationId xmlns:a16="http://schemas.microsoft.com/office/drawing/2014/main" id="{43C2F540-BC4F-4F4B-A13F-64EFF4C3B6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9" name="Pg">
            <a:extLst>
              <a:ext uri="{FF2B5EF4-FFF2-40B4-BE49-F238E27FC236}">
                <a16:creationId xmlns:a16="http://schemas.microsoft.com/office/drawing/2014/main" id="{A8099171-5756-5C41-97AC-1AFF8DDD9B6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CE4F8156-A223-6D49-A819-DDA0DC712A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6" name="Column 1">
            <a:extLst>
              <a:ext uri="{FF2B5EF4-FFF2-40B4-BE49-F238E27FC236}">
                <a16:creationId xmlns:a16="http://schemas.microsoft.com/office/drawing/2014/main" id="{D0E48077-2819-8A49-A05C-6703D2804F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30" name="Column 2">
            <a:extLst>
              <a:ext uri="{FF2B5EF4-FFF2-40B4-BE49-F238E27FC236}">
                <a16:creationId xmlns:a16="http://schemas.microsoft.com/office/drawing/2014/main" id="{92FCC806-979D-BB45-BD58-D2DFE35FAE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71373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Full Bleed Image_BLUE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girl with purple glasses purses her lips in concentration as she writes on a whiteboard with a large, black marker. Her classmate stands beside her.&#10;">
            <a:extLst>
              <a:ext uri="{FF2B5EF4-FFF2-40B4-BE49-F238E27FC236}">
                <a16:creationId xmlns:a16="http://schemas.microsoft.com/office/drawing/2014/main" id="{92362EEF-3BD7-9942-9F61-594A9380A7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33100"/>
            <a:ext cx="12192000" cy="68911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C0B215F-CC30-5D4D-8CBD-8143A5F9B7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Display Date">
            <a:extLst>
              <a:ext uri="{FF2B5EF4-FFF2-40B4-BE49-F238E27FC236}">
                <a16:creationId xmlns:a16="http://schemas.microsoft.com/office/drawing/2014/main" id="{7F129D7E-B24B-D243-8677-D2E88D580E8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1" name="Name &amp; Surname">
            <a:extLst>
              <a:ext uri="{FF2B5EF4-FFF2-40B4-BE49-F238E27FC236}">
                <a16:creationId xmlns:a16="http://schemas.microsoft.com/office/drawing/2014/main" id="{958D4D3F-3519-B04D-A7AB-B2717A8E5D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59209D60-98AC-A347-9518-252F7F6486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1" y="4486707"/>
            <a:ext cx="2760436" cy="3540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813217E5-B63E-6E47-AB63-FCA8E4388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5" name="Picture 14" descr="McGraw Hill red cube logo ">
            <a:extLst>
              <a:ext uri="{FF2B5EF4-FFF2-40B4-BE49-F238E27FC236}">
                <a16:creationId xmlns:a16="http://schemas.microsoft.com/office/drawing/2014/main" id="{55C15131-0BCC-E64D-88F8-AA080E056C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2526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8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ext_No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pter Title">
            <a:extLst>
              <a:ext uri="{FF2B5EF4-FFF2-40B4-BE49-F238E27FC236}">
                <a16:creationId xmlns:a16="http://schemas.microsoft.com/office/drawing/2014/main" id="{6270A90D-500C-E74E-8060-95448D45EE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7549A0-DD2F-6C43-86AE-FF641D1700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BF1DBC1E-7F69-B843-B19E-79A078D9478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F4E5FD-8EB6-BE45-B712-8F1275A7C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olumn 1">
            <a:extLst>
              <a:ext uri="{FF2B5EF4-FFF2-40B4-BE49-F238E27FC236}">
                <a16:creationId xmlns:a16="http://schemas.microsoft.com/office/drawing/2014/main" id="{D98A9DBF-922D-A54A-AEA9-91C2162DC5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6F862A84-E061-8143-BCE7-4C9B9A9B5E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90689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33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 – Call Out Box / Imag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89FB6B-4E4C-9945-8D76-D4163E41BB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BED6375A-D484-F047-8EE7-94EE16B17B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71062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776914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762E6F4-ACEF-4946-9F8B-3E94398BCD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3" name="Chapter Title">
            <a:extLst>
              <a:ext uri="{FF2B5EF4-FFF2-40B4-BE49-F238E27FC236}">
                <a16:creationId xmlns:a16="http://schemas.microsoft.com/office/drawing/2014/main" id="{F9E60D72-3177-4045-A466-D4B05B19B0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0" name="Pg">
            <a:extLst>
              <a:ext uri="{FF2B5EF4-FFF2-40B4-BE49-F238E27FC236}">
                <a16:creationId xmlns:a16="http://schemas.microsoft.com/office/drawing/2014/main" id="{E1F1980C-9889-C848-8872-29975F666E0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1544E1B1-08F2-4C4E-92C9-F500EEA591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0" name="01">
            <a:extLst>
              <a:ext uri="{FF2B5EF4-FFF2-40B4-BE49-F238E27FC236}">
                <a16:creationId xmlns:a16="http://schemas.microsoft.com/office/drawing/2014/main" id="{6F3CD7EC-291A-CB41-AC04-9DA32ED491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8" name="Caption 1">
            <a:extLst>
              <a:ext uri="{FF2B5EF4-FFF2-40B4-BE49-F238E27FC236}">
                <a16:creationId xmlns:a16="http://schemas.microsoft.com/office/drawing/2014/main" id="{C49CF928-74D9-7D4A-9C22-E2E436B914D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3" name="Column 1">
            <a:extLst>
              <a:ext uri="{FF2B5EF4-FFF2-40B4-BE49-F238E27FC236}">
                <a16:creationId xmlns:a16="http://schemas.microsoft.com/office/drawing/2014/main" id="{6587622A-E7E2-6B44-B626-9CC87A6C6D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3" name="02">
            <a:extLst>
              <a:ext uri="{FF2B5EF4-FFF2-40B4-BE49-F238E27FC236}">
                <a16:creationId xmlns:a16="http://schemas.microsoft.com/office/drawing/2014/main" id="{DDE4B5E5-63E4-6D4D-B63F-A8AE99EB850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59" name="Caption 2">
            <a:extLst>
              <a:ext uri="{FF2B5EF4-FFF2-40B4-BE49-F238E27FC236}">
                <a16:creationId xmlns:a16="http://schemas.microsoft.com/office/drawing/2014/main" id="{D6639B44-DFB3-1048-9F98-610715182EE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4" name="Column 2">
            <a:extLst>
              <a:ext uri="{FF2B5EF4-FFF2-40B4-BE49-F238E27FC236}">
                <a16:creationId xmlns:a16="http://schemas.microsoft.com/office/drawing/2014/main" id="{055A89E4-9DE0-AE4F-8C40-E086AFB8D5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6" name="03">
            <a:extLst>
              <a:ext uri="{FF2B5EF4-FFF2-40B4-BE49-F238E27FC236}">
                <a16:creationId xmlns:a16="http://schemas.microsoft.com/office/drawing/2014/main" id="{C62E8335-4BFD-FA41-B11F-1D2EEEB0491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60" name="Caption 3">
            <a:extLst>
              <a:ext uri="{FF2B5EF4-FFF2-40B4-BE49-F238E27FC236}">
                <a16:creationId xmlns:a16="http://schemas.microsoft.com/office/drawing/2014/main" id="{B0534917-CDE1-0641-BA42-A95A1C4C355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5" name="Column 3">
            <a:extLst>
              <a:ext uri="{FF2B5EF4-FFF2-40B4-BE49-F238E27FC236}">
                <a16:creationId xmlns:a16="http://schemas.microsoft.com/office/drawing/2014/main" id="{D357D3AF-CA84-204B-A109-31A760A1C43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9" name="04">
            <a:extLst>
              <a:ext uri="{FF2B5EF4-FFF2-40B4-BE49-F238E27FC236}">
                <a16:creationId xmlns:a16="http://schemas.microsoft.com/office/drawing/2014/main" id="{06027FA5-B9A8-984E-B10A-886620508A6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61" name="Caption 4">
            <a:extLst>
              <a:ext uri="{FF2B5EF4-FFF2-40B4-BE49-F238E27FC236}">
                <a16:creationId xmlns:a16="http://schemas.microsoft.com/office/drawing/2014/main" id="{66947F2B-8897-954A-9AD2-8FCD3367A57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6" name="Column 4">
            <a:extLst>
              <a:ext uri="{FF2B5EF4-FFF2-40B4-BE49-F238E27FC236}">
                <a16:creationId xmlns:a16="http://schemas.microsoft.com/office/drawing/2014/main" id="{08B9E6CA-F2C9-0E4B-AD40-C7C2B61346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2" name="05">
            <a:extLst>
              <a:ext uri="{FF2B5EF4-FFF2-40B4-BE49-F238E27FC236}">
                <a16:creationId xmlns:a16="http://schemas.microsoft.com/office/drawing/2014/main" id="{D9009439-37E9-A14D-8A5B-6031C0EB087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62" name="Caption 5">
            <a:extLst>
              <a:ext uri="{FF2B5EF4-FFF2-40B4-BE49-F238E27FC236}">
                <a16:creationId xmlns:a16="http://schemas.microsoft.com/office/drawing/2014/main" id="{D7AC52E8-4D8C-8D4B-AB02-9A2C26B23E5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7" name="Column 5">
            <a:extLst>
              <a:ext uri="{FF2B5EF4-FFF2-40B4-BE49-F238E27FC236}">
                <a16:creationId xmlns:a16="http://schemas.microsoft.com/office/drawing/2014/main" id="{3602C7B6-9754-724B-B0BB-AE3CB5B565C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684079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762E6F4-ACEF-4946-9F8B-3E94398BCD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3" name="Chapter Title">
            <a:extLst>
              <a:ext uri="{FF2B5EF4-FFF2-40B4-BE49-F238E27FC236}">
                <a16:creationId xmlns:a16="http://schemas.microsoft.com/office/drawing/2014/main" id="{F9E60D72-3177-4045-A466-D4B05B19B0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0" name="Pg">
            <a:extLst>
              <a:ext uri="{FF2B5EF4-FFF2-40B4-BE49-F238E27FC236}">
                <a16:creationId xmlns:a16="http://schemas.microsoft.com/office/drawing/2014/main" id="{E1F1980C-9889-C848-8872-29975F666E0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1544E1B1-08F2-4C4E-92C9-F500EEA591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0" name="01">
            <a:extLst>
              <a:ext uri="{FF2B5EF4-FFF2-40B4-BE49-F238E27FC236}">
                <a16:creationId xmlns:a16="http://schemas.microsoft.com/office/drawing/2014/main" id="{6F3CD7EC-291A-CB41-AC04-9DA32ED491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8" name="Caption 1">
            <a:extLst>
              <a:ext uri="{FF2B5EF4-FFF2-40B4-BE49-F238E27FC236}">
                <a16:creationId xmlns:a16="http://schemas.microsoft.com/office/drawing/2014/main" id="{C49CF928-74D9-7D4A-9C22-E2E436B914D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3" name="Column 1">
            <a:extLst>
              <a:ext uri="{FF2B5EF4-FFF2-40B4-BE49-F238E27FC236}">
                <a16:creationId xmlns:a16="http://schemas.microsoft.com/office/drawing/2014/main" id="{6587622A-E7E2-6B44-B626-9CC87A6C6D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3" name="02">
            <a:extLst>
              <a:ext uri="{FF2B5EF4-FFF2-40B4-BE49-F238E27FC236}">
                <a16:creationId xmlns:a16="http://schemas.microsoft.com/office/drawing/2014/main" id="{DDE4B5E5-63E4-6D4D-B63F-A8AE99EB850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59" name="Caption 2">
            <a:extLst>
              <a:ext uri="{FF2B5EF4-FFF2-40B4-BE49-F238E27FC236}">
                <a16:creationId xmlns:a16="http://schemas.microsoft.com/office/drawing/2014/main" id="{D6639B44-DFB3-1048-9F98-610715182EE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4" name="Column 2">
            <a:extLst>
              <a:ext uri="{FF2B5EF4-FFF2-40B4-BE49-F238E27FC236}">
                <a16:creationId xmlns:a16="http://schemas.microsoft.com/office/drawing/2014/main" id="{055A89E4-9DE0-AE4F-8C40-E086AFB8D5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6" name="03">
            <a:extLst>
              <a:ext uri="{FF2B5EF4-FFF2-40B4-BE49-F238E27FC236}">
                <a16:creationId xmlns:a16="http://schemas.microsoft.com/office/drawing/2014/main" id="{C62E8335-4BFD-FA41-B11F-1D2EEEB0491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60" name="Caption 3">
            <a:extLst>
              <a:ext uri="{FF2B5EF4-FFF2-40B4-BE49-F238E27FC236}">
                <a16:creationId xmlns:a16="http://schemas.microsoft.com/office/drawing/2014/main" id="{B0534917-CDE1-0641-BA42-A95A1C4C355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5" name="Column 3">
            <a:extLst>
              <a:ext uri="{FF2B5EF4-FFF2-40B4-BE49-F238E27FC236}">
                <a16:creationId xmlns:a16="http://schemas.microsoft.com/office/drawing/2014/main" id="{D357D3AF-CA84-204B-A109-31A760A1C43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9" name="04">
            <a:extLst>
              <a:ext uri="{FF2B5EF4-FFF2-40B4-BE49-F238E27FC236}">
                <a16:creationId xmlns:a16="http://schemas.microsoft.com/office/drawing/2014/main" id="{06027FA5-B9A8-984E-B10A-886620508A6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61" name="Caption 4">
            <a:extLst>
              <a:ext uri="{FF2B5EF4-FFF2-40B4-BE49-F238E27FC236}">
                <a16:creationId xmlns:a16="http://schemas.microsoft.com/office/drawing/2014/main" id="{66947F2B-8897-954A-9AD2-8FCD3367A57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6" name="Column 4">
            <a:extLst>
              <a:ext uri="{FF2B5EF4-FFF2-40B4-BE49-F238E27FC236}">
                <a16:creationId xmlns:a16="http://schemas.microsoft.com/office/drawing/2014/main" id="{08B9E6CA-F2C9-0E4B-AD40-C7C2B61346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2" name="05">
            <a:extLst>
              <a:ext uri="{FF2B5EF4-FFF2-40B4-BE49-F238E27FC236}">
                <a16:creationId xmlns:a16="http://schemas.microsoft.com/office/drawing/2014/main" id="{D9009439-37E9-A14D-8A5B-6031C0EB087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62" name="Caption 5">
            <a:extLst>
              <a:ext uri="{FF2B5EF4-FFF2-40B4-BE49-F238E27FC236}">
                <a16:creationId xmlns:a16="http://schemas.microsoft.com/office/drawing/2014/main" id="{D7AC52E8-4D8C-8D4B-AB02-9A2C26B23E5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7" name="Column 5">
            <a:extLst>
              <a:ext uri="{FF2B5EF4-FFF2-40B4-BE49-F238E27FC236}">
                <a16:creationId xmlns:a16="http://schemas.microsoft.com/office/drawing/2014/main" id="{3602C7B6-9754-724B-B0BB-AE3CB5B565C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36619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0D2407-3AEE-1846-8778-AE4EE683A8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33" name="Chapter Title">
            <a:extLst>
              <a:ext uri="{FF2B5EF4-FFF2-40B4-BE49-F238E27FC236}">
                <a16:creationId xmlns:a16="http://schemas.microsoft.com/office/drawing/2014/main" id="{7D24EF4D-8CFF-2241-8291-933EFE6292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8" name="Pg">
            <a:extLst>
              <a:ext uri="{FF2B5EF4-FFF2-40B4-BE49-F238E27FC236}">
                <a16:creationId xmlns:a16="http://schemas.microsoft.com/office/drawing/2014/main" id="{2D9A1D09-DB20-6D4D-83FD-330BCF62809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E40A5D0-FCE3-9442-99D4-4FFF20BCBC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4" name="01">
            <a:extLst>
              <a:ext uri="{FF2B5EF4-FFF2-40B4-BE49-F238E27FC236}">
                <a16:creationId xmlns:a16="http://schemas.microsoft.com/office/drawing/2014/main" id="{BAD73B57-8C4A-D743-AACF-484F43CC0B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8" name="Caption 1">
            <a:extLst>
              <a:ext uri="{FF2B5EF4-FFF2-40B4-BE49-F238E27FC236}">
                <a16:creationId xmlns:a16="http://schemas.microsoft.com/office/drawing/2014/main" id="{2B469334-6E72-5D40-AA8E-B737B44651B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3" name="Column 1">
            <a:extLst>
              <a:ext uri="{FF2B5EF4-FFF2-40B4-BE49-F238E27FC236}">
                <a16:creationId xmlns:a16="http://schemas.microsoft.com/office/drawing/2014/main" id="{42B229DB-D4B9-544F-8266-3342343568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7" name="02">
            <a:extLst>
              <a:ext uri="{FF2B5EF4-FFF2-40B4-BE49-F238E27FC236}">
                <a16:creationId xmlns:a16="http://schemas.microsoft.com/office/drawing/2014/main" id="{F469656D-C96E-9A47-B8C1-D64C8FCF777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29" name="Caption 2">
            <a:extLst>
              <a:ext uri="{FF2B5EF4-FFF2-40B4-BE49-F238E27FC236}">
                <a16:creationId xmlns:a16="http://schemas.microsoft.com/office/drawing/2014/main" id="{28383D3C-9789-A842-828F-3B5C13382A9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DFE1817B-BA1F-C949-8EA0-6C100525960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0" name="03">
            <a:extLst>
              <a:ext uri="{FF2B5EF4-FFF2-40B4-BE49-F238E27FC236}">
                <a16:creationId xmlns:a16="http://schemas.microsoft.com/office/drawing/2014/main" id="{FA4866C5-96CB-A844-A442-C93A18B11AE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0" name="Caption 3">
            <a:extLst>
              <a:ext uri="{FF2B5EF4-FFF2-40B4-BE49-F238E27FC236}">
                <a16:creationId xmlns:a16="http://schemas.microsoft.com/office/drawing/2014/main" id="{7BA46A7F-694F-8447-AAD3-ED50BF4275A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9" name="Column 3">
            <a:extLst>
              <a:ext uri="{FF2B5EF4-FFF2-40B4-BE49-F238E27FC236}">
                <a16:creationId xmlns:a16="http://schemas.microsoft.com/office/drawing/2014/main" id="{A2E9B9FF-BCCB-2247-9494-04E868F5AF0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3" name="04">
            <a:extLst>
              <a:ext uri="{FF2B5EF4-FFF2-40B4-BE49-F238E27FC236}">
                <a16:creationId xmlns:a16="http://schemas.microsoft.com/office/drawing/2014/main" id="{FFA14467-DA2F-1347-A181-87C0FDFC047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1" name="Caption 4">
            <a:extLst>
              <a:ext uri="{FF2B5EF4-FFF2-40B4-BE49-F238E27FC236}">
                <a16:creationId xmlns:a16="http://schemas.microsoft.com/office/drawing/2014/main" id="{CD36F8F1-96E3-E648-926C-EFEE29F6CFA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2" name="Column 4">
            <a:extLst>
              <a:ext uri="{FF2B5EF4-FFF2-40B4-BE49-F238E27FC236}">
                <a16:creationId xmlns:a16="http://schemas.microsoft.com/office/drawing/2014/main" id="{B161DB36-BA0A-6E48-A4BC-33D1C6F0B3E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6" name="05">
            <a:extLst>
              <a:ext uri="{FF2B5EF4-FFF2-40B4-BE49-F238E27FC236}">
                <a16:creationId xmlns:a16="http://schemas.microsoft.com/office/drawing/2014/main" id="{4F8FF71C-BC5B-B24A-944F-6C70373088E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2" name="Caption 5">
            <a:extLst>
              <a:ext uri="{FF2B5EF4-FFF2-40B4-BE49-F238E27FC236}">
                <a16:creationId xmlns:a16="http://schemas.microsoft.com/office/drawing/2014/main" id="{8389548D-A6FA-B449-8592-28D45618BBA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5" name="Column 5">
            <a:extLst>
              <a:ext uri="{FF2B5EF4-FFF2-40B4-BE49-F238E27FC236}">
                <a16:creationId xmlns:a16="http://schemas.microsoft.com/office/drawing/2014/main" id="{BBFD7C98-2BE7-7E44-BCED-09D82235061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404672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-Column Cont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A2699079-097B-CA44-BDE4-664F85187F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40954"/>
            <a:ext cx="12192000" cy="339568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423BF18-190B-0B45-86C7-8E7FD8D5BA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4" name="Chapter Title">
            <a:extLst>
              <a:ext uri="{FF2B5EF4-FFF2-40B4-BE49-F238E27FC236}">
                <a16:creationId xmlns:a16="http://schemas.microsoft.com/office/drawing/2014/main" id="{4C3A16F4-5E80-954F-9F5D-C17AAF09B8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68B34E99-AE30-4C49-ABBE-F3D759A453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3" name="01">
            <a:extLst>
              <a:ext uri="{FF2B5EF4-FFF2-40B4-BE49-F238E27FC236}">
                <a16:creationId xmlns:a16="http://schemas.microsoft.com/office/drawing/2014/main" id="{656B9FAF-84C0-7E43-8B08-53730DCF7EF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379440" y="1946465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9" name="Caption 1">
            <a:extLst>
              <a:ext uri="{FF2B5EF4-FFF2-40B4-BE49-F238E27FC236}">
                <a16:creationId xmlns:a16="http://schemas.microsoft.com/office/drawing/2014/main" id="{9CF9316A-A272-CB44-96B8-3E066822DFC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5" name="Subtitle 1">
            <a:extLst>
              <a:ext uri="{FF2B5EF4-FFF2-40B4-BE49-F238E27FC236}">
                <a16:creationId xmlns:a16="http://schemas.microsoft.com/office/drawing/2014/main" id="{36FF7C71-04B0-1B44-BAC9-283FE6509B0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84532" y="4388629"/>
            <a:ext cx="1858962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D95B1A93-7377-6B4F-AB4C-85A0ADE1456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16113" y="4957614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54" name="02">
            <a:extLst>
              <a:ext uri="{FF2B5EF4-FFF2-40B4-BE49-F238E27FC236}">
                <a16:creationId xmlns:a16="http://schemas.microsoft.com/office/drawing/2014/main" id="{42B5B42B-7BA8-8749-A68B-767FDE1DBED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46882" y="1946703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61" name="Caption 2">
            <a:extLst>
              <a:ext uri="{FF2B5EF4-FFF2-40B4-BE49-F238E27FC236}">
                <a16:creationId xmlns:a16="http://schemas.microsoft.com/office/drawing/2014/main" id="{AB11E701-A589-1142-AAC4-7F98249E39B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673065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AC7180CB-D6CC-884D-A1D6-4238C52B1D1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507143" y="4388629"/>
            <a:ext cx="1858962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1" name="Column 2">
            <a:extLst>
              <a:ext uri="{FF2B5EF4-FFF2-40B4-BE49-F238E27FC236}">
                <a16:creationId xmlns:a16="http://schemas.microsoft.com/office/drawing/2014/main" id="{DED1FE80-97ED-A44A-AAC7-23445FA9373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538724" y="4957614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55" name="03">
            <a:extLst>
              <a:ext uri="{FF2B5EF4-FFF2-40B4-BE49-F238E27FC236}">
                <a16:creationId xmlns:a16="http://schemas.microsoft.com/office/drawing/2014/main" id="{8192EB0B-9651-B544-BDAC-EE091C49C6F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93566" y="1940697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62" name="Caption 3">
            <a:extLst>
              <a:ext uri="{FF2B5EF4-FFF2-40B4-BE49-F238E27FC236}">
                <a16:creationId xmlns:a16="http://schemas.microsoft.com/office/drawing/2014/main" id="{284AA87E-52EF-2045-830C-F4AAFF5F87A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462044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2" name="Subtitle 3">
            <a:extLst>
              <a:ext uri="{FF2B5EF4-FFF2-40B4-BE49-F238E27FC236}">
                <a16:creationId xmlns:a16="http://schemas.microsoft.com/office/drawing/2014/main" id="{94D3E8CD-91A0-F547-BA17-B7867B89A68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305088" y="4391924"/>
            <a:ext cx="1858962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3" name="Column 3">
            <a:extLst>
              <a:ext uri="{FF2B5EF4-FFF2-40B4-BE49-F238E27FC236}">
                <a16:creationId xmlns:a16="http://schemas.microsoft.com/office/drawing/2014/main" id="{39B3353B-2777-5447-89A8-8604255C061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336669" y="4960909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dolore.</a:t>
            </a:r>
          </a:p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56" name="04">
            <a:extLst>
              <a:ext uri="{FF2B5EF4-FFF2-40B4-BE49-F238E27FC236}">
                <a16:creationId xmlns:a16="http://schemas.microsoft.com/office/drawing/2014/main" id="{6CFC2436-7424-CA43-969D-9AB5100DA38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822026" y="1940697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63" name="Caption 4">
            <a:extLst>
              <a:ext uri="{FF2B5EF4-FFF2-40B4-BE49-F238E27FC236}">
                <a16:creationId xmlns:a16="http://schemas.microsoft.com/office/drawing/2014/main" id="{C758B12F-C44F-274A-A913-BCB1409A8DD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25774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7" name="Subtitle 4">
            <a:extLst>
              <a:ext uri="{FF2B5EF4-FFF2-40B4-BE49-F238E27FC236}">
                <a16:creationId xmlns:a16="http://schemas.microsoft.com/office/drawing/2014/main" id="{54CCEB4F-7779-5E4B-B18D-AA167974CF5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153963" y="4388597"/>
            <a:ext cx="2044858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8" name="Column 4">
            <a:extLst>
              <a:ext uri="{FF2B5EF4-FFF2-40B4-BE49-F238E27FC236}">
                <a16:creationId xmlns:a16="http://schemas.microsoft.com/office/drawing/2014/main" id="{DDA404CD-C496-1F4F-B260-2970B74DBAD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156413" y="4957582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dolore.</a:t>
            </a:r>
          </a:p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5" name="Pg">
            <a:extLst>
              <a:ext uri="{FF2B5EF4-FFF2-40B4-BE49-F238E27FC236}">
                <a16:creationId xmlns:a16="http://schemas.microsoft.com/office/drawing/2014/main" id="{26155597-F0AF-764C-8816-67A652B266AC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70376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op Nav">
            <a:extLst>
              <a:ext uri="{FF2B5EF4-FFF2-40B4-BE49-F238E27FC236}">
                <a16:creationId xmlns:a16="http://schemas.microsoft.com/office/drawing/2014/main" id="{63C8FBF6-E07B-8749-9CE6-AF0D6291DEB0}"/>
              </a:ext>
            </a:extLst>
          </p:cNvPr>
          <p:cNvSpPr/>
          <p:nvPr userDrawn="1"/>
        </p:nvSpPr>
        <p:spPr>
          <a:xfrm>
            <a:off x="0" y="728664"/>
            <a:ext cx="12191999" cy="6129336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F60BAF2-64CC-3A4E-B752-82EE147FA7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7" name="Chapter Title">
            <a:extLst>
              <a:ext uri="{FF2B5EF4-FFF2-40B4-BE49-F238E27FC236}">
                <a16:creationId xmlns:a16="http://schemas.microsoft.com/office/drawing/2014/main" id="{01EF1194-E7BA-8641-B7C3-306A8956F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5" name="Pg">
            <a:extLst>
              <a:ext uri="{FF2B5EF4-FFF2-40B4-BE49-F238E27FC236}">
                <a16:creationId xmlns:a16="http://schemas.microsoft.com/office/drawing/2014/main" id="{844B4F85-BEB9-7D42-92C7-7EC215876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BEE164E9-B94E-9149-9694-5422386548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4" name="01">
            <a:extLst>
              <a:ext uri="{FF2B5EF4-FFF2-40B4-BE49-F238E27FC236}">
                <a16:creationId xmlns:a16="http://schemas.microsoft.com/office/drawing/2014/main" id="{95B3BA13-C080-9848-9EE1-B9E9CA19F9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8" name="Caption 1">
            <a:extLst>
              <a:ext uri="{FF2B5EF4-FFF2-40B4-BE49-F238E27FC236}">
                <a16:creationId xmlns:a16="http://schemas.microsoft.com/office/drawing/2014/main" id="{AF070C41-6C94-3A4A-978A-F440F161765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3" name="Column 1">
            <a:extLst>
              <a:ext uri="{FF2B5EF4-FFF2-40B4-BE49-F238E27FC236}">
                <a16:creationId xmlns:a16="http://schemas.microsoft.com/office/drawing/2014/main" id="{03D79C4C-8F32-6B4B-9FFB-9C9CFDBBDF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7" name="02">
            <a:extLst>
              <a:ext uri="{FF2B5EF4-FFF2-40B4-BE49-F238E27FC236}">
                <a16:creationId xmlns:a16="http://schemas.microsoft.com/office/drawing/2014/main" id="{CA6ABE95-681E-C34A-B8B6-569502D902E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29" name="Caption 2">
            <a:extLst>
              <a:ext uri="{FF2B5EF4-FFF2-40B4-BE49-F238E27FC236}">
                <a16:creationId xmlns:a16="http://schemas.microsoft.com/office/drawing/2014/main" id="{23600F69-272F-C24D-B914-C33E8706485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88C5C30B-1103-594F-A8AA-BF1A6908C9D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0" name="03">
            <a:extLst>
              <a:ext uri="{FF2B5EF4-FFF2-40B4-BE49-F238E27FC236}">
                <a16:creationId xmlns:a16="http://schemas.microsoft.com/office/drawing/2014/main" id="{E3A9735A-C485-864B-B59D-5F45DEADA83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0" name="Caption 3">
            <a:extLst>
              <a:ext uri="{FF2B5EF4-FFF2-40B4-BE49-F238E27FC236}">
                <a16:creationId xmlns:a16="http://schemas.microsoft.com/office/drawing/2014/main" id="{373489FE-C2DA-EF46-949E-CA23CB51A54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9" name="Column 3">
            <a:extLst>
              <a:ext uri="{FF2B5EF4-FFF2-40B4-BE49-F238E27FC236}">
                <a16:creationId xmlns:a16="http://schemas.microsoft.com/office/drawing/2014/main" id="{4FF6A20C-BEDE-1547-803D-D2BD830DE10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3" name="04">
            <a:extLst>
              <a:ext uri="{FF2B5EF4-FFF2-40B4-BE49-F238E27FC236}">
                <a16:creationId xmlns:a16="http://schemas.microsoft.com/office/drawing/2014/main" id="{ADC59BD8-C0C2-684A-8085-EBDE4B767D9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1" name="Caption 4">
            <a:extLst>
              <a:ext uri="{FF2B5EF4-FFF2-40B4-BE49-F238E27FC236}">
                <a16:creationId xmlns:a16="http://schemas.microsoft.com/office/drawing/2014/main" id="{7C02D760-3953-CF49-A639-E32179CD656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2" name="Column 4">
            <a:extLst>
              <a:ext uri="{FF2B5EF4-FFF2-40B4-BE49-F238E27FC236}">
                <a16:creationId xmlns:a16="http://schemas.microsoft.com/office/drawing/2014/main" id="{F4EA188A-7D90-7B4B-A837-4262F19D75D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6" name="05">
            <a:extLst>
              <a:ext uri="{FF2B5EF4-FFF2-40B4-BE49-F238E27FC236}">
                <a16:creationId xmlns:a16="http://schemas.microsoft.com/office/drawing/2014/main" id="{2EFF1D36-CE17-1949-929C-138DF560583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2" name="Caption 5">
            <a:extLst>
              <a:ext uri="{FF2B5EF4-FFF2-40B4-BE49-F238E27FC236}">
                <a16:creationId xmlns:a16="http://schemas.microsoft.com/office/drawing/2014/main" id="{A0B65ACF-BEB4-5149-816B-A56877ED8C6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5" name="Column 5">
            <a:extLst>
              <a:ext uri="{FF2B5EF4-FFF2-40B4-BE49-F238E27FC236}">
                <a16:creationId xmlns:a16="http://schemas.microsoft.com/office/drawing/2014/main" id="{D17CA303-7361-2D47-BB94-C5EFD44B71B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287942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 Conten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A2699079-097B-CA44-BDE4-664F85187F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40954"/>
            <a:ext cx="12192000" cy="99577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EA4367-3689-7945-B203-0D5FD9A1E7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2" name="Chapter Title">
            <a:extLst>
              <a:ext uri="{FF2B5EF4-FFF2-40B4-BE49-F238E27FC236}">
                <a16:creationId xmlns:a16="http://schemas.microsoft.com/office/drawing/2014/main" id="{50B2CB3F-B6DB-5040-BDF4-7D5177457F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9" name="Pg">
            <a:extLst>
              <a:ext uri="{FF2B5EF4-FFF2-40B4-BE49-F238E27FC236}">
                <a16:creationId xmlns:a16="http://schemas.microsoft.com/office/drawing/2014/main" id="{3FA4234B-1496-4443-A1CD-3B9779E171F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5B9C971-A59C-E24F-9F13-F9E4BED677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5" name="Title Line 1">
            <a:extLst>
              <a:ext uri="{FF2B5EF4-FFF2-40B4-BE49-F238E27FC236}">
                <a16:creationId xmlns:a16="http://schemas.microsoft.com/office/drawing/2014/main" id="{460B94BE-2F57-214D-AA8B-96BF52A1AB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985924" y="1995932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93049BCE-22FC-114B-8D98-3B5794B607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71091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6" name="Title Line 2">
            <a:extLst>
              <a:ext uri="{FF2B5EF4-FFF2-40B4-BE49-F238E27FC236}">
                <a16:creationId xmlns:a16="http://schemas.microsoft.com/office/drawing/2014/main" id="{E31E5F7E-95A4-D243-9357-C2B9239A652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149850" y="1993226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3" name="Column 2">
            <a:extLst>
              <a:ext uri="{FF2B5EF4-FFF2-40B4-BE49-F238E27FC236}">
                <a16:creationId xmlns:a16="http://schemas.microsoft.com/office/drawing/2014/main" id="{CFA1A9FC-B5F4-4B4F-87A1-973B4BF19A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36106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7" name="Title Line 3">
            <a:extLst>
              <a:ext uri="{FF2B5EF4-FFF2-40B4-BE49-F238E27FC236}">
                <a16:creationId xmlns:a16="http://schemas.microsoft.com/office/drawing/2014/main" id="{CEBEEFA7-BA38-3640-8D05-BA35D9C9FA5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313775" y="2006927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5" name="Column 3">
            <a:extLst>
              <a:ext uri="{FF2B5EF4-FFF2-40B4-BE49-F238E27FC236}">
                <a16:creationId xmlns:a16="http://schemas.microsoft.com/office/drawing/2014/main" id="{42638CEB-FE41-3149-B18E-D43AD55BB2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01121" y="2681936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63832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 Conten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A2699079-097B-CA44-BDE4-664F85187F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40954"/>
            <a:ext cx="12192000" cy="99577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3CD589-820C-E34C-BB24-CFC41AFBF4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6" name="Chapter Title">
            <a:extLst>
              <a:ext uri="{FF2B5EF4-FFF2-40B4-BE49-F238E27FC236}">
                <a16:creationId xmlns:a16="http://schemas.microsoft.com/office/drawing/2014/main" id="{922674B1-49AA-9341-8C46-794E759907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BD0B7D5-0192-F646-9D3E-35CC8C2AFEB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F3A6DBF-0DEF-DB4B-A0B6-951847384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" name="Title line 1">
            <a:extLst>
              <a:ext uri="{FF2B5EF4-FFF2-40B4-BE49-F238E27FC236}">
                <a16:creationId xmlns:a16="http://schemas.microsoft.com/office/drawing/2014/main" id="{6E0352A1-1A9E-4B4D-AC82-71F39E86DC6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26892" y="1995932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93049BCE-22FC-114B-8D98-3B5794B607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2059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7" name="Title line 2">
            <a:extLst>
              <a:ext uri="{FF2B5EF4-FFF2-40B4-BE49-F238E27FC236}">
                <a16:creationId xmlns:a16="http://schemas.microsoft.com/office/drawing/2014/main" id="{16F4E1AB-6264-DF41-8025-CF302045B0D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75168" y="1993226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3" name="Column 2">
            <a:extLst>
              <a:ext uri="{FF2B5EF4-FFF2-40B4-BE49-F238E27FC236}">
                <a16:creationId xmlns:a16="http://schemas.microsoft.com/office/drawing/2014/main" id="{CFA1A9FC-B5F4-4B4F-87A1-973B4BF19A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61424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8" name="Title line 3">
            <a:extLst>
              <a:ext uri="{FF2B5EF4-FFF2-40B4-BE49-F238E27FC236}">
                <a16:creationId xmlns:a16="http://schemas.microsoft.com/office/drawing/2014/main" id="{4005FD16-CA36-F449-BFD1-723D089159F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523443" y="2006927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5" name="Column 3">
            <a:extLst>
              <a:ext uri="{FF2B5EF4-FFF2-40B4-BE49-F238E27FC236}">
                <a16:creationId xmlns:a16="http://schemas.microsoft.com/office/drawing/2014/main" id="{42638CEB-FE41-3149-B18E-D43AD55BB2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0789" y="2681936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21" name="Title line 4">
            <a:extLst>
              <a:ext uri="{FF2B5EF4-FFF2-40B4-BE49-F238E27FC236}">
                <a16:creationId xmlns:a16="http://schemas.microsoft.com/office/drawing/2014/main" id="{85D83742-7B64-2842-9FD7-C3DB4A118D5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271718" y="1998724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7" name="Column 4">
            <a:extLst>
              <a:ext uri="{FF2B5EF4-FFF2-40B4-BE49-F238E27FC236}">
                <a16:creationId xmlns:a16="http://schemas.microsoft.com/office/drawing/2014/main" id="{EB2FCF4E-2315-A74B-9A73-3DEC8F3B2CB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60154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81136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200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80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Full Bleed Image_VIOLET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college students holding their notebooks share a laugh outside a school building.">
            <a:extLst>
              <a:ext uri="{FF2B5EF4-FFF2-40B4-BE49-F238E27FC236}">
                <a16:creationId xmlns:a16="http://schemas.microsoft.com/office/drawing/2014/main" id="{ED6FB341-F7F5-9842-DF4D-6D3D22DF86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1327E40-7AE9-D645-B4A9-1806BB82E5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isplay Date">
            <a:extLst>
              <a:ext uri="{FF2B5EF4-FFF2-40B4-BE49-F238E27FC236}">
                <a16:creationId xmlns:a16="http://schemas.microsoft.com/office/drawing/2014/main" id="{AF19FE6E-ABD4-0641-9E4F-ECE7E253AD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0" name="Name &amp; Surname">
            <a:extLst>
              <a:ext uri="{FF2B5EF4-FFF2-40B4-BE49-F238E27FC236}">
                <a16:creationId xmlns:a16="http://schemas.microsoft.com/office/drawing/2014/main" id="{7526AB89-E183-9647-B0C6-8DBEA8E2B6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A35E7039-7E5C-EA46-8A76-6BF0BD49C6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EE8D7D83-3733-6544-9A18-692EAF0556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1" name="Picture 10" descr="McGraw Hill red cube logo ">
            <a:extLst>
              <a:ext uri="{FF2B5EF4-FFF2-40B4-BE49-F238E27FC236}">
                <a16:creationId xmlns:a16="http://schemas.microsoft.com/office/drawing/2014/main" id="{2133F0EF-B82D-AB41-BC98-F67769B6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6305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36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46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_with Copy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18818EE-D37D-50E7-F166-FDA5EEEF49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480845"/>
            <a:ext cx="7041819" cy="2321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6B1683-BE6C-994F-8C71-4655A6D7B5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D28FF114-93DC-FC49-9934-51730AECAC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6" name="Pg">
            <a:extLst>
              <a:ext uri="{FF2B5EF4-FFF2-40B4-BE49-F238E27FC236}">
                <a16:creationId xmlns:a16="http://schemas.microsoft.com/office/drawing/2014/main" id="{B53FBC86-B154-F249-A0EA-A3F4998B886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5B2093CD-2406-1349-966B-57058BD810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4" y="1682595"/>
            <a:ext cx="4253436" cy="8043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16032F2A-D24D-FA45-816D-4D82D213E1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894" y="2650646"/>
            <a:ext cx="5581918" cy="9853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44" name="Stat 1">
            <a:extLst>
              <a:ext uri="{FF2B5EF4-FFF2-40B4-BE49-F238E27FC236}">
                <a16:creationId xmlns:a16="http://schemas.microsoft.com/office/drawing/2014/main" id="{4BD686AE-DC91-DC4E-98B6-493D6DB170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950" y="4170138"/>
            <a:ext cx="2473606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45" name="Stat 1 Caption">
            <a:extLst>
              <a:ext uri="{FF2B5EF4-FFF2-40B4-BE49-F238E27FC236}">
                <a16:creationId xmlns:a16="http://schemas.microsoft.com/office/drawing/2014/main" id="{19AE6206-7E35-854D-855D-A8B8530A72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4482" y="5009199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47" name="Stat 1 Copy">
            <a:extLst>
              <a:ext uri="{FF2B5EF4-FFF2-40B4-BE49-F238E27FC236}">
                <a16:creationId xmlns:a16="http://schemas.microsoft.com/office/drawing/2014/main" id="{AD0265F3-4D1A-7D41-BF60-8182268D4F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7140" y="5451133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51" name="Stat 2">
            <a:extLst>
              <a:ext uri="{FF2B5EF4-FFF2-40B4-BE49-F238E27FC236}">
                <a16:creationId xmlns:a16="http://schemas.microsoft.com/office/drawing/2014/main" id="{67E90FE2-CD3B-8049-88E7-E583DDC94D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71477" y="4176571"/>
            <a:ext cx="2597434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5M</a:t>
            </a:r>
          </a:p>
        </p:txBody>
      </p:sp>
      <p:sp>
        <p:nvSpPr>
          <p:cNvPr id="53" name="Stat 2 Caption">
            <a:extLst>
              <a:ext uri="{FF2B5EF4-FFF2-40B4-BE49-F238E27FC236}">
                <a16:creationId xmlns:a16="http://schemas.microsoft.com/office/drawing/2014/main" id="{E0AAA0E1-067E-5E46-84AD-C18938B78DD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03010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55" name="Stat 2 Copy">
            <a:extLst>
              <a:ext uri="{FF2B5EF4-FFF2-40B4-BE49-F238E27FC236}">
                <a16:creationId xmlns:a16="http://schemas.microsoft.com/office/drawing/2014/main" id="{68C6FB9C-6833-F949-A1CB-672E8F902A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85668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68" name="Stat 3">
            <a:extLst>
              <a:ext uri="{FF2B5EF4-FFF2-40B4-BE49-F238E27FC236}">
                <a16:creationId xmlns:a16="http://schemas.microsoft.com/office/drawing/2014/main" id="{D37F84E6-BEEC-C347-BF35-E224CF12A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5031" y="4176571"/>
            <a:ext cx="2463824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5%</a:t>
            </a:r>
          </a:p>
        </p:txBody>
      </p:sp>
      <p:sp>
        <p:nvSpPr>
          <p:cNvPr id="69" name="Stat 3 Caption">
            <a:extLst>
              <a:ext uri="{FF2B5EF4-FFF2-40B4-BE49-F238E27FC236}">
                <a16:creationId xmlns:a16="http://schemas.microsoft.com/office/drawing/2014/main" id="{4091B827-BD48-3845-A649-E3F411B59F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6563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hree</a:t>
            </a:r>
          </a:p>
        </p:txBody>
      </p:sp>
      <p:sp>
        <p:nvSpPr>
          <p:cNvPr id="70" name="Stat 3 Copy">
            <a:extLst>
              <a:ext uri="{FF2B5EF4-FFF2-40B4-BE49-F238E27FC236}">
                <a16:creationId xmlns:a16="http://schemas.microsoft.com/office/drawing/2014/main" id="{517CBC8F-6DC5-B447-AB17-999EEEB3EC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221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73" name="Stat 4">
            <a:extLst>
              <a:ext uri="{FF2B5EF4-FFF2-40B4-BE49-F238E27FC236}">
                <a16:creationId xmlns:a16="http://schemas.microsoft.com/office/drawing/2014/main" id="{8BEC1142-9771-314C-B68C-DA151419BB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7967" y="4180771"/>
            <a:ext cx="26833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3K</a:t>
            </a:r>
          </a:p>
          <a:p>
            <a:pPr lvl="0"/>
            <a:endParaRPr lang="en-US"/>
          </a:p>
        </p:txBody>
      </p:sp>
      <p:sp>
        <p:nvSpPr>
          <p:cNvPr id="74" name="Stat 4 Caption">
            <a:extLst>
              <a:ext uri="{FF2B5EF4-FFF2-40B4-BE49-F238E27FC236}">
                <a16:creationId xmlns:a16="http://schemas.microsoft.com/office/drawing/2014/main" id="{C5CA4CF6-97DE-F940-9A01-DAF0E307ABC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49500" y="50198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Four</a:t>
            </a:r>
          </a:p>
        </p:txBody>
      </p:sp>
      <p:sp>
        <p:nvSpPr>
          <p:cNvPr id="75" name="Stat 4 Copy">
            <a:extLst>
              <a:ext uri="{FF2B5EF4-FFF2-40B4-BE49-F238E27FC236}">
                <a16:creationId xmlns:a16="http://schemas.microsoft.com/office/drawing/2014/main" id="{A3C1FD35-204F-ED4E-85E0-D19F8AEBD0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32158" y="54617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40511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09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_with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1C4C9A5-0868-2701-BC50-B6336F7A9B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480845"/>
            <a:ext cx="7041819" cy="2321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C4C2075-62BB-E24C-8076-CA96EF9E70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DB23EC58-BCB7-634A-BB1D-B02CF96ACF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28B7895A-CD17-BE4E-8275-3B988852FF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4" y="1682595"/>
            <a:ext cx="4253436" cy="8043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16032F2A-D24D-FA45-816D-4D82D213E1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894" y="2650646"/>
            <a:ext cx="5581918" cy="9853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44" name="Stat 1">
            <a:extLst>
              <a:ext uri="{FF2B5EF4-FFF2-40B4-BE49-F238E27FC236}">
                <a16:creationId xmlns:a16="http://schemas.microsoft.com/office/drawing/2014/main" id="{4BD686AE-DC91-DC4E-98B6-493D6DB170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950" y="41701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45" name="Stat 1 caption">
            <a:extLst>
              <a:ext uri="{FF2B5EF4-FFF2-40B4-BE49-F238E27FC236}">
                <a16:creationId xmlns:a16="http://schemas.microsoft.com/office/drawing/2014/main" id="{19AE6206-7E35-854D-855D-A8B8530A72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4482" y="5009199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47" name="Stat 1 copy">
            <a:extLst>
              <a:ext uri="{FF2B5EF4-FFF2-40B4-BE49-F238E27FC236}">
                <a16:creationId xmlns:a16="http://schemas.microsoft.com/office/drawing/2014/main" id="{AD0265F3-4D1A-7D41-BF60-8182268D4F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7140" y="5451133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51" name="Stat 2">
            <a:extLst>
              <a:ext uri="{FF2B5EF4-FFF2-40B4-BE49-F238E27FC236}">
                <a16:creationId xmlns:a16="http://schemas.microsoft.com/office/drawing/2014/main" id="{67E90FE2-CD3B-8049-88E7-E583DDC94D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71477" y="4176571"/>
            <a:ext cx="2441567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5M</a:t>
            </a:r>
          </a:p>
        </p:txBody>
      </p:sp>
      <p:sp>
        <p:nvSpPr>
          <p:cNvPr id="53" name="Stat 2 caption">
            <a:extLst>
              <a:ext uri="{FF2B5EF4-FFF2-40B4-BE49-F238E27FC236}">
                <a16:creationId xmlns:a16="http://schemas.microsoft.com/office/drawing/2014/main" id="{E0AAA0E1-067E-5E46-84AD-C18938B78DD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03010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55" name="Stat 2 copy">
            <a:extLst>
              <a:ext uri="{FF2B5EF4-FFF2-40B4-BE49-F238E27FC236}">
                <a16:creationId xmlns:a16="http://schemas.microsoft.com/office/drawing/2014/main" id="{68C6FB9C-6833-F949-A1CB-672E8F902A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85668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68" name="Stat 3">
            <a:extLst>
              <a:ext uri="{FF2B5EF4-FFF2-40B4-BE49-F238E27FC236}">
                <a16:creationId xmlns:a16="http://schemas.microsoft.com/office/drawing/2014/main" id="{D37F84E6-BEEC-C347-BF35-E224CF12A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5031" y="4176571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5%</a:t>
            </a:r>
          </a:p>
        </p:txBody>
      </p:sp>
      <p:sp>
        <p:nvSpPr>
          <p:cNvPr id="69" name="Stat 3 caption">
            <a:extLst>
              <a:ext uri="{FF2B5EF4-FFF2-40B4-BE49-F238E27FC236}">
                <a16:creationId xmlns:a16="http://schemas.microsoft.com/office/drawing/2014/main" id="{4091B827-BD48-3845-A649-E3F411B59F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6563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hree</a:t>
            </a:r>
          </a:p>
        </p:txBody>
      </p:sp>
      <p:sp>
        <p:nvSpPr>
          <p:cNvPr id="70" name="Stat 3 copy">
            <a:extLst>
              <a:ext uri="{FF2B5EF4-FFF2-40B4-BE49-F238E27FC236}">
                <a16:creationId xmlns:a16="http://schemas.microsoft.com/office/drawing/2014/main" id="{517CBC8F-6DC5-B447-AB17-999EEEB3EC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221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73" name="Stat 4">
            <a:extLst>
              <a:ext uri="{FF2B5EF4-FFF2-40B4-BE49-F238E27FC236}">
                <a16:creationId xmlns:a16="http://schemas.microsoft.com/office/drawing/2014/main" id="{8BEC1142-9771-314C-B68C-DA151419BB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7967" y="4180771"/>
            <a:ext cx="2301403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3K</a:t>
            </a:r>
          </a:p>
          <a:p>
            <a:pPr lvl="0"/>
            <a:endParaRPr lang="en-US"/>
          </a:p>
        </p:txBody>
      </p:sp>
      <p:sp>
        <p:nvSpPr>
          <p:cNvPr id="74" name="Stat 4 caption">
            <a:extLst>
              <a:ext uri="{FF2B5EF4-FFF2-40B4-BE49-F238E27FC236}">
                <a16:creationId xmlns:a16="http://schemas.microsoft.com/office/drawing/2014/main" id="{C5CA4CF6-97DE-F940-9A01-DAF0E307ABC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49500" y="50198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Four</a:t>
            </a:r>
          </a:p>
        </p:txBody>
      </p:sp>
      <p:sp>
        <p:nvSpPr>
          <p:cNvPr id="75" name="Stat 4 copy">
            <a:extLst>
              <a:ext uri="{FF2B5EF4-FFF2-40B4-BE49-F238E27FC236}">
                <a16:creationId xmlns:a16="http://schemas.microsoft.com/office/drawing/2014/main" id="{A3C1FD35-204F-ED4E-85E0-D19F8AEBD0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32158" y="54617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6" name="Pg">
            <a:extLst>
              <a:ext uri="{FF2B5EF4-FFF2-40B4-BE49-F238E27FC236}">
                <a16:creationId xmlns:a16="http://schemas.microsoft.com/office/drawing/2014/main" id="{0D918B0F-8556-604B-BAA8-A6C7C9B54BD5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3711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09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_with Copy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B603EE6-48B1-A9DD-3E8C-9F040098CC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480845"/>
            <a:ext cx="7041819" cy="2321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FF60865-49F2-1743-ACC3-2007E090A7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937ACD68-09C5-D248-B40F-4B1840FDA9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430514C7-0A12-D14C-9687-4F3B4194A5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4" y="1682595"/>
            <a:ext cx="4253436" cy="8043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16032F2A-D24D-FA45-816D-4D82D213E1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894" y="2650646"/>
            <a:ext cx="5581918" cy="9853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44" name="Stat 1">
            <a:extLst>
              <a:ext uri="{FF2B5EF4-FFF2-40B4-BE49-F238E27FC236}">
                <a16:creationId xmlns:a16="http://schemas.microsoft.com/office/drawing/2014/main" id="{4BD686AE-DC91-DC4E-98B6-493D6DB170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950" y="41701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45" name="Stat 1 caption">
            <a:extLst>
              <a:ext uri="{FF2B5EF4-FFF2-40B4-BE49-F238E27FC236}">
                <a16:creationId xmlns:a16="http://schemas.microsoft.com/office/drawing/2014/main" id="{19AE6206-7E35-854D-855D-A8B8530A72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4482" y="5009199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47" name="Stat 1 copy">
            <a:extLst>
              <a:ext uri="{FF2B5EF4-FFF2-40B4-BE49-F238E27FC236}">
                <a16:creationId xmlns:a16="http://schemas.microsoft.com/office/drawing/2014/main" id="{AD0265F3-4D1A-7D41-BF60-8182268D4F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7140" y="5451133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51" name="Stat 2">
            <a:extLst>
              <a:ext uri="{FF2B5EF4-FFF2-40B4-BE49-F238E27FC236}">
                <a16:creationId xmlns:a16="http://schemas.microsoft.com/office/drawing/2014/main" id="{67E90FE2-CD3B-8049-88E7-E583DDC94D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71477" y="4176571"/>
            <a:ext cx="2441567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5M</a:t>
            </a:r>
          </a:p>
        </p:txBody>
      </p:sp>
      <p:sp>
        <p:nvSpPr>
          <p:cNvPr id="53" name="Stat 2 caption">
            <a:extLst>
              <a:ext uri="{FF2B5EF4-FFF2-40B4-BE49-F238E27FC236}">
                <a16:creationId xmlns:a16="http://schemas.microsoft.com/office/drawing/2014/main" id="{E0AAA0E1-067E-5E46-84AD-C18938B78DD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03010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55" name="Stat 2 Copy">
            <a:extLst>
              <a:ext uri="{FF2B5EF4-FFF2-40B4-BE49-F238E27FC236}">
                <a16:creationId xmlns:a16="http://schemas.microsoft.com/office/drawing/2014/main" id="{68C6FB9C-6833-F949-A1CB-672E8F902A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85668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68" name="Stat 3">
            <a:extLst>
              <a:ext uri="{FF2B5EF4-FFF2-40B4-BE49-F238E27FC236}">
                <a16:creationId xmlns:a16="http://schemas.microsoft.com/office/drawing/2014/main" id="{D37F84E6-BEEC-C347-BF35-E224CF12A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5031" y="4176571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5%</a:t>
            </a:r>
          </a:p>
        </p:txBody>
      </p:sp>
      <p:sp>
        <p:nvSpPr>
          <p:cNvPr id="69" name="Stat 3 caption">
            <a:extLst>
              <a:ext uri="{FF2B5EF4-FFF2-40B4-BE49-F238E27FC236}">
                <a16:creationId xmlns:a16="http://schemas.microsoft.com/office/drawing/2014/main" id="{4091B827-BD48-3845-A649-E3F411B59F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6563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hree</a:t>
            </a:r>
          </a:p>
        </p:txBody>
      </p:sp>
      <p:sp>
        <p:nvSpPr>
          <p:cNvPr id="70" name="Stat 3 copy">
            <a:extLst>
              <a:ext uri="{FF2B5EF4-FFF2-40B4-BE49-F238E27FC236}">
                <a16:creationId xmlns:a16="http://schemas.microsoft.com/office/drawing/2014/main" id="{517CBC8F-6DC5-B447-AB17-999EEEB3EC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221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73" name="Stat 4">
            <a:extLst>
              <a:ext uri="{FF2B5EF4-FFF2-40B4-BE49-F238E27FC236}">
                <a16:creationId xmlns:a16="http://schemas.microsoft.com/office/drawing/2014/main" id="{8BEC1142-9771-314C-B68C-DA151419BB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7967" y="4180771"/>
            <a:ext cx="2301403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3K</a:t>
            </a:r>
          </a:p>
          <a:p>
            <a:pPr lvl="0"/>
            <a:endParaRPr lang="en-US"/>
          </a:p>
        </p:txBody>
      </p:sp>
      <p:sp>
        <p:nvSpPr>
          <p:cNvPr id="74" name="Stat 4 caption">
            <a:extLst>
              <a:ext uri="{FF2B5EF4-FFF2-40B4-BE49-F238E27FC236}">
                <a16:creationId xmlns:a16="http://schemas.microsoft.com/office/drawing/2014/main" id="{C5CA4CF6-97DE-F940-9A01-DAF0E307ABC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49500" y="50198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Four</a:t>
            </a:r>
          </a:p>
        </p:txBody>
      </p:sp>
      <p:sp>
        <p:nvSpPr>
          <p:cNvPr id="75" name="Stat 4 Copy">
            <a:extLst>
              <a:ext uri="{FF2B5EF4-FFF2-40B4-BE49-F238E27FC236}">
                <a16:creationId xmlns:a16="http://schemas.microsoft.com/office/drawing/2014/main" id="{A3C1FD35-204F-ED4E-85E0-D19F8AEBD0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32158" y="54617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6" name="Pg">
            <a:extLst>
              <a:ext uri="{FF2B5EF4-FFF2-40B4-BE49-F238E27FC236}">
                <a16:creationId xmlns:a16="http://schemas.microsoft.com/office/drawing/2014/main" id="{E60BAC26-48D6-E248-B41C-2CCDFE98648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84211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09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s_Imag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24A805ED-D40C-5C40-894F-47559BF2F622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1946E26-8BE7-2D48-86AC-6974E1F63A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13CBDD01-29C4-1745-98AD-13788A1461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3A98EC6B-7BB0-C948-B167-15145EFB6A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E366E92-31CB-554F-81AB-17D313A7A12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1987867"/>
            <a:ext cx="8175625" cy="4074286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tat 1">
            <a:extLst>
              <a:ext uri="{FF2B5EF4-FFF2-40B4-BE49-F238E27FC236}">
                <a16:creationId xmlns:a16="http://schemas.microsoft.com/office/drawing/2014/main" id="{C9E00311-1B4A-3A45-B2E1-0DEC2AF42F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1850" y="1856499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13" name="Stat 1 Caption">
            <a:extLst>
              <a:ext uri="{FF2B5EF4-FFF2-40B4-BE49-F238E27FC236}">
                <a16:creationId xmlns:a16="http://schemas.microsoft.com/office/drawing/2014/main" id="{38EEFF29-C9F6-F448-9DE3-B7BED4EA285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1850" y="272709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4" name="Stat 1 Copy">
            <a:extLst>
              <a:ext uri="{FF2B5EF4-FFF2-40B4-BE49-F238E27FC236}">
                <a16:creationId xmlns:a16="http://schemas.microsoft.com/office/drawing/2014/main" id="{B83545D4-1FE8-DC43-9A81-6F250435877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56040" y="316902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5" name="Stat 2">
            <a:extLst>
              <a:ext uri="{FF2B5EF4-FFF2-40B4-BE49-F238E27FC236}">
                <a16:creationId xmlns:a16="http://schemas.microsoft.com/office/drawing/2014/main" id="{4ABC467F-D107-4747-9586-1125DD08C17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89148" y="41772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6" name="Stat 2 Caption">
            <a:extLst>
              <a:ext uri="{FF2B5EF4-FFF2-40B4-BE49-F238E27FC236}">
                <a16:creationId xmlns:a16="http://schemas.microsoft.com/office/drawing/2014/main" id="{8BD7BB4D-CE28-1E4B-9665-50E32471A5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89148" y="5047831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7" name="Stat 2 Copy">
            <a:extLst>
              <a:ext uri="{FF2B5EF4-FFF2-40B4-BE49-F238E27FC236}">
                <a16:creationId xmlns:a16="http://schemas.microsoft.com/office/drawing/2014/main" id="{EB835A56-B62C-D14B-903D-610071ADC1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03338" y="5489765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0" name="Pg">
            <a:extLst>
              <a:ext uri="{FF2B5EF4-FFF2-40B4-BE49-F238E27FC236}">
                <a16:creationId xmlns:a16="http://schemas.microsoft.com/office/drawing/2014/main" id="{0116EA0E-2BFB-CB43-BCB2-E6275846FF8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3800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s_Imag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24A805ED-D40C-5C40-894F-47559BF2F622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A4452E8-D98B-7D49-89F4-1988EA1CF4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EB64CB2E-C92D-124D-B974-0B1896DAFD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F928CD4C-6268-8747-985F-C59CF046D0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2B551DAC-27EA-C24C-B386-EC1AF8D644A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1987867"/>
            <a:ext cx="8175625" cy="4074286"/>
          </a:xfrm>
        </p:spPr>
        <p:txBody>
          <a:bodyPr/>
          <a:lstStyle/>
          <a:p>
            <a:endParaRPr lang="en-US"/>
          </a:p>
        </p:txBody>
      </p:sp>
      <p:sp>
        <p:nvSpPr>
          <p:cNvPr id="19" name="Stat 1">
            <a:extLst>
              <a:ext uri="{FF2B5EF4-FFF2-40B4-BE49-F238E27FC236}">
                <a16:creationId xmlns:a16="http://schemas.microsoft.com/office/drawing/2014/main" id="{F98DED31-4635-444D-919C-2B2B0E840F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1850" y="1856499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23" name="Stat 1 Caption">
            <a:extLst>
              <a:ext uri="{FF2B5EF4-FFF2-40B4-BE49-F238E27FC236}">
                <a16:creationId xmlns:a16="http://schemas.microsoft.com/office/drawing/2014/main" id="{331C2C7A-A19F-4D41-AF05-994255D0A1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1850" y="272709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24" name="Stat 1 Copy">
            <a:extLst>
              <a:ext uri="{FF2B5EF4-FFF2-40B4-BE49-F238E27FC236}">
                <a16:creationId xmlns:a16="http://schemas.microsoft.com/office/drawing/2014/main" id="{085B1092-89BA-6141-A8AF-C417ED755A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56040" y="316902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5" name="Stat 2">
            <a:extLst>
              <a:ext uri="{FF2B5EF4-FFF2-40B4-BE49-F238E27FC236}">
                <a16:creationId xmlns:a16="http://schemas.microsoft.com/office/drawing/2014/main" id="{3F2FC970-AFDD-3442-9C3D-1624B73CCDE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89148" y="41772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26" name="Stat 2 Caption">
            <a:extLst>
              <a:ext uri="{FF2B5EF4-FFF2-40B4-BE49-F238E27FC236}">
                <a16:creationId xmlns:a16="http://schemas.microsoft.com/office/drawing/2014/main" id="{2364D5FE-A84F-B94C-A9A4-9473F667299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89148" y="5047831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27" name="Stat 2 Copy">
            <a:extLst>
              <a:ext uri="{FF2B5EF4-FFF2-40B4-BE49-F238E27FC236}">
                <a16:creationId xmlns:a16="http://schemas.microsoft.com/office/drawing/2014/main" id="{C7FFAD34-E2B5-C749-BB8B-450A44FC17C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03338" y="5489765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0" name="Pg">
            <a:extLst>
              <a:ext uri="{FF2B5EF4-FFF2-40B4-BE49-F238E27FC236}">
                <a16:creationId xmlns:a16="http://schemas.microsoft.com/office/drawing/2014/main" id="{D5A19222-FB40-1547-B796-7486CB30C68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45870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s_Imag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24A805ED-D40C-5C40-894F-47559BF2F622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1CF8A6E-8B6C-6747-84E2-7847C60A12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7F34424B-8820-7344-948C-E6A37BDAAA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1B342B07-82AB-0B4B-B28F-D846667724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1DD162E7-2D04-F14B-8AE4-67BBDF2FB66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1987867"/>
            <a:ext cx="8175625" cy="4074286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Stat 1">
            <a:extLst>
              <a:ext uri="{FF2B5EF4-FFF2-40B4-BE49-F238E27FC236}">
                <a16:creationId xmlns:a16="http://schemas.microsoft.com/office/drawing/2014/main" id="{8719B257-7CF2-6F44-B644-631E6E5FD3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1850" y="1856499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18" name="Stat 1 Caption">
            <a:extLst>
              <a:ext uri="{FF2B5EF4-FFF2-40B4-BE49-F238E27FC236}">
                <a16:creationId xmlns:a16="http://schemas.microsoft.com/office/drawing/2014/main" id="{57760C02-0E47-7F4E-A806-343D235853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1850" y="272709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9" name="Stat 1 Copy">
            <a:extLst>
              <a:ext uri="{FF2B5EF4-FFF2-40B4-BE49-F238E27FC236}">
                <a16:creationId xmlns:a16="http://schemas.microsoft.com/office/drawing/2014/main" id="{EBA0D26B-DB92-4246-9287-4BA2780352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56040" y="316902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0" name="Stat 2">
            <a:extLst>
              <a:ext uri="{FF2B5EF4-FFF2-40B4-BE49-F238E27FC236}">
                <a16:creationId xmlns:a16="http://schemas.microsoft.com/office/drawing/2014/main" id="{B255A082-26C5-3C48-A4C3-084ADA5B701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89148" y="41772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21" name="Stat 2 Caption">
            <a:extLst>
              <a:ext uri="{FF2B5EF4-FFF2-40B4-BE49-F238E27FC236}">
                <a16:creationId xmlns:a16="http://schemas.microsoft.com/office/drawing/2014/main" id="{A2FDE0EB-7516-884E-8EAB-A79C468518D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89148" y="5047831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22" name="Stat 2 Copy">
            <a:extLst>
              <a:ext uri="{FF2B5EF4-FFF2-40B4-BE49-F238E27FC236}">
                <a16:creationId xmlns:a16="http://schemas.microsoft.com/office/drawing/2014/main" id="{26318E31-81CB-5441-B056-B8D276EEF00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03338" y="5489765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2F9A6A3-1428-324C-BC1A-CD4F519AE9C5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60018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EA4367-3689-7945-B203-0D5FD9A1E7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2" name="Chapter Title">
            <a:extLst>
              <a:ext uri="{FF2B5EF4-FFF2-40B4-BE49-F238E27FC236}">
                <a16:creationId xmlns:a16="http://schemas.microsoft.com/office/drawing/2014/main" id="{50B2CB3F-B6DB-5040-BDF4-7D5177457F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9" name="Pg">
            <a:extLst>
              <a:ext uri="{FF2B5EF4-FFF2-40B4-BE49-F238E27FC236}">
                <a16:creationId xmlns:a16="http://schemas.microsoft.com/office/drawing/2014/main" id="{3FA4234B-1496-4443-A1CD-3B9779E171F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04961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Imag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8DB4CB4-1406-7FBC-0880-CB7AB119A95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A96E7CA0-8C3C-3EBD-6ED3-9BB769E80B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93589" y="1534550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147157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5023091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72137697-89EC-9F1C-0D19-51DF4306ED77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6652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Imag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619D03A-D2EB-A738-BA8D-A429CF6572F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9809" y="1366152"/>
            <a:ext cx="2133800" cy="4871033"/>
          </a:xfrm>
          <a:prstGeom prst="rect">
            <a:avLst/>
          </a:prstGeom>
        </p:spPr>
      </p:pic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8DFB25E2-62AC-989D-869E-A1139CC820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rgbClr val="092467"/>
            </a:solidFill>
          </a:ln>
        </p:spPr>
        <p:txBody>
          <a:bodyPr/>
          <a:lstStyle/>
          <a:p>
            <a:endParaRPr lang="en-US"/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93589" y="1534550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147157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5023091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1E4CAEF0-50E4-ADAC-E4A7-03D572F8956D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0959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Imag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7D88A5F-5A6A-CE48-F65D-46990A73FB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BFF64230-07C6-7B2F-A4C6-3382A20E66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93589" y="1534550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147157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5023091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33CDB57F-9CE5-5F88-4534-111CCA92285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5101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4.xml"/><Relationship Id="rId2" Type="http://schemas.openxmlformats.org/officeDocument/2006/relationships/slideLayout" Target="../slideLayouts/slideLayout113.xml"/><Relationship Id="rId1" Type="http://schemas.openxmlformats.org/officeDocument/2006/relationships/slideLayout" Target="../slideLayouts/slideLayout112.xml"/><Relationship Id="rId5" Type="http://schemas.openxmlformats.org/officeDocument/2006/relationships/theme" Target="../theme/theme10.xml"/><Relationship Id="rId4" Type="http://schemas.openxmlformats.org/officeDocument/2006/relationships/slideLayout" Target="../slideLayouts/slideLayout115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3.xml"/><Relationship Id="rId13" Type="http://schemas.openxmlformats.org/officeDocument/2006/relationships/slideLayout" Target="../slideLayouts/slideLayout128.xml"/><Relationship Id="rId18" Type="http://schemas.openxmlformats.org/officeDocument/2006/relationships/slideLayout" Target="../slideLayouts/slideLayout133.xml"/><Relationship Id="rId3" Type="http://schemas.openxmlformats.org/officeDocument/2006/relationships/slideLayout" Target="../slideLayouts/slideLayout118.xml"/><Relationship Id="rId21" Type="http://schemas.openxmlformats.org/officeDocument/2006/relationships/image" Target="../media/image14.emf"/><Relationship Id="rId7" Type="http://schemas.openxmlformats.org/officeDocument/2006/relationships/slideLayout" Target="../slideLayouts/slideLayout122.xml"/><Relationship Id="rId12" Type="http://schemas.openxmlformats.org/officeDocument/2006/relationships/slideLayout" Target="../slideLayouts/slideLayout127.xml"/><Relationship Id="rId17" Type="http://schemas.openxmlformats.org/officeDocument/2006/relationships/slideLayout" Target="../slideLayouts/slideLayout132.xml"/><Relationship Id="rId2" Type="http://schemas.openxmlformats.org/officeDocument/2006/relationships/slideLayout" Target="../slideLayouts/slideLayout117.xml"/><Relationship Id="rId16" Type="http://schemas.openxmlformats.org/officeDocument/2006/relationships/slideLayout" Target="../slideLayouts/slideLayout131.xml"/><Relationship Id="rId20" Type="http://schemas.openxmlformats.org/officeDocument/2006/relationships/theme" Target="../theme/theme11.xml"/><Relationship Id="rId1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21.xml"/><Relationship Id="rId11" Type="http://schemas.openxmlformats.org/officeDocument/2006/relationships/slideLayout" Target="../slideLayouts/slideLayout126.xml"/><Relationship Id="rId5" Type="http://schemas.openxmlformats.org/officeDocument/2006/relationships/slideLayout" Target="../slideLayouts/slideLayout120.xml"/><Relationship Id="rId15" Type="http://schemas.openxmlformats.org/officeDocument/2006/relationships/slideLayout" Target="../slideLayouts/slideLayout130.xml"/><Relationship Id="rId10" Type="http://schemas.openxmlformats.org/officeDocument/2006/relationships/slideLayout" Target="../slideLayouts/slideLayout125.xml"/><Relationship Id="rId19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19.xml"/><Relationship Id="rId9" Type="http://schemas.openxmlformats.org/officeDocument/2006/relationships/slideLayout" Target="../slideLayouts/slideLayout124.xml"/><Relationship Id="rId14" Type="http://schemas.openxmlformats.org/officeDocument/2006/relationships/slideLayout" Target="../slideLayouts/slideLayout129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2.xml"/><Relationship Id="rId13" Type="http://schemas.openxmlformats.org/officeDocument/2006/relationships/slideLayout" Target="../slideLayouts/slideLayout147.xml"/><Relationship Id="rId18" Type="http://schemas.openxmlformats.org/officeDocument/2006/relationships/image" Target="../media/image24.emf"/><Relationship Id="rId3" Type="http://schemas.openxmlformats.org/officeDocument/2006/relationships/slideLayout" Target="../slideLayouts/slideLayout137.xml"/><Relationship Id="rId7" Type="http://schemas.openxmlformats.org/officeDocument/2006/relationships/slideLayout" Target="../slideLayouts/slideLayout141.xml"/><Relationship Id="rId12" Type="http://schemas.openxmlformats.org/officeDocument/2006/relationships/slideLayout" Target="../slideLayouts/slideLayout146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136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11" Type="http://schemas.openxmlformats.org/officeDocument/2006/relationships/slideLayout" Target="../slideLayouts/slideLayout145.xml"/><Relationship Id="rId5" Type="http://schemas.openxmlformats.org/officeDocument/2006/relationships/slideLayout" Target="../slideLayouts/slideLayout139.xml"/><Relationship Id="rId15" Type="http://schemas.openxmlformats.org/officeDocument/2006/relationships/theme" Target="../theme/theme12.xml"/><Relationship Id="rId10" Type="http://schemas.openxmlformats.org/officeDocument/2006/relationships/slideLayout" Target="../slideLayouts/slideLayout144.xml"/><Relationship Id="rId4" Type="http://schemas.openxmlformats.org/officeDocument/2006/relationships/slideLayout" Target="../slideLayouts/slideLayout138.xml"/><Relationship Id="rId9" Type="http://schemas.openxmlformats.org/officeDocument/2006/relationships/slideLayout" Target="../slideLayouts/slideLayout143.xml"/><Relationship Id="rId14" Type="http://schemas.openxmlformats.org/officeDocument/2006/relationships/slideLayout" Target="../slideLayouts/slideLayout148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14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2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image" Target="../media/image14.emf"/><Relationship Id="rId5" Type="http://schemas.openxmlformats.org/officeDocument/2006/relationships/slideLayout" Target="../slideLayouts/slideLayout32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image" Target="../media/image14.emf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2.xml"/><Relationship Id="rId18" Type="http://schemas.openxmlformats.org/officeDocument/2006/relationships/slideLayout" Target="../slideLayouts/slideLayout67.xml"/><Relationship Id="rId26" Type="http://schemas.openxmlformats.org/officeDocument/2006/relationships/slideLayout" Target="../slideLayouts/slideLayout75.xml"/><Relationship Id="rId3" Type="http://schemas.openxmlformats.org/officeDocument/2006/relationships/slideLayout" Target="../slideLayouts/slideLayout52.xml"/><Relationship Id="rId21" Type="http://schemas.openxmlformats.org/officeDocument/2006/relationships/slideLayout" Target="../slideLayouts/slideLayout70.xml"/><Relationship Id="rId34" Type="http://schemas.openxmlformats.org/officeDocument/2006/relationships/theme" Target="../theme/theme6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25" Type="http://schemas.openxmlformats.org/officeDocument/2006/relationships/slideLayout" Target="../slideLayouts/slideLayout74.xml"/><Relationship Id="rId33" Type="http://schemas.openxmlformats.org/officeDocument/2006/relationships/slideLayout" Target="../slideLayouts/slideLayout82.xml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0" Type="http://schemas.openxmlformats.org/officeDocument/2006/relationships/slideLayout" Target="../slideLayouts/slideLayout69.xml"/><Relationship Id="rId29" Type="http://schemas.openxmlformats.org/officeDocument/2006/relationships/slideLayout" Target="../slideLayouts/slideLayout78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24" Type="http://schemas.openxmlformats.org/officeDocument/2006/relationships/slideLayout" Target="../slideLayouts/slideLayout73.xml"/><Relationship Id="rId32" Type="http://schemas.openxmlformats.org/officeDocument/2006/relationships/slideLayout" Target="../slideLayouts/slideLayout81.x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23" Type="http://schemas.openxmlformats.org/officeDocument/2006/relationships/slideLayout" Target="../slideLayouts/slideLayout72.xml"/><Relationship Id="rId28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59.xml"/><Relationship Id="rId19" Type="http://schemas.openxmlformats.org/officeDocument/2006/relationships/slideLayout" Target="../slideLayouts/slideLayout68.xml"/><Relationship Id="rId31" Type="http://schemas.openxmlformats.org/officeDocument/2006/relationships/slideLayout" Target="../slideLayouts/slideLayout80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Relationship Id="rId22" Type="http://schemas.openxmlformats.org/officeDocument/2006/relationships/slideLayout" Target="../slideLayouts/slideLayout71.xml"/><Relationship Id="rId27" Type="http://schemas.openxmlformats.org/officeDocument/2006/relationships/slideLayout" Target="../slideLayouts/slideLayout76.xml"/><Relationship Id="rId30" Type="http://schemas.openxmlformats.org/officeDocument/2006/relationships/slideLayout" Target="../slideLayouts/slideLayout79.xml"/><Relationship Id="rId35" Type="http://schemas.openxmlformats.org/officeDocument/2006/relationships/image" Target="../media/image14.emf"/><Relationship Id="rId8" Type="http://schemas.openxmlformats.org/officeDocument/2006/relationships/slideLayout" Target="../slideLayouts/slideLayout5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13" Type="http://schemas.openxmlformats.org/officeDocument/2006/relationships/slideLayout" Target="../slideLayouts/slideLayout95.xml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slideLayout" Target="../slideLayouts/slideLayout94.xml"/><Relationship Id="rId2" Type="http://schemas.openxmlformats.org/officeDocument/2006/relationships/slideLayout" Target="../slideLayouts/slideLayout84.xml"/><Relationship Id="rId16" Type="http://schemas.openxmlformats.org/officeDocument/2006/relationships/image" Target="../media/image14.emf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5" Type="http://schemas.openxmlformats.org/officeDocument/2006/relationships/slideLayout" Target="../slideLayouts/slideLayout87.xml"/><Relationship Id="rId15" Type="http://schemas.openxmlformats.org/officeDocument/2006/relationships/theme" Target="../theme/theme7.xml"/><Relationship Id="rId10" Type="http://schemas.openxmlformats.org/officeDocument/2006/relationships/slideLayout" Target="../slideLayouts/slideLayout92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slideLayout" Target="../slideLayouts/slideLayout9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image" Target="../media/image14.emf"/><Relationship Id="rId5" Type="http://schemas.openxmlformats.org/officeDocument/2006/relationships/slideLayout" Target="../slideLayouts/slideLayout101.xml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slideLayout" Target="../slideLayouts/slideLayout108.xml"/><Relationship Id="rId7" Type="http://schemas.openxmlformats.org/officeDocument/2006/relationships/theme" Target="../theme/theme9.xml"/><Relationship Id="rId2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5" Type="http://schemas.openxmlformats.org/officeDocument/2006/relationships/slideLayout" Target="../slideLayouts/slideLayout110.xml"/><Relationship Id="rId4" Type="http://schemas.openxmlformats.org/officeDocument/2006/relationships/slideLayout" Target="../slideLayouts/slideLayout10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1786E930-AFA0-0F43-AA19-D751AD4C71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PowerPoint Template</a:t>
            </a:r>
          </a:p>
        </p:txBody>
      </p:sp>
    </p:spTree>
    <p:extLst>
      <p:ext uri="{BB962C8B-B14F-4D97-AF65-F5344CB8AC3E}">
        <p14:creationId xmlns:p14="http://schemas.microsoft.com/office/powerpoint/2010/main" val="2479644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4019" r:id="rId6"/>
    <p:sldLayoutId id="2147483666" r:id="rId7"/>
    <p:sldLayoutId id="2147484018" r:id="rId8"/>
    <p:sldLayoutId id="2147483667" r:id="rId9"/>
    <p:sldLayoutId id="2147484017" r:id="rId10"/>
    <p:sldLayoutId id="2147483668" r:id="rId11"/>
    <p:sldLayoutId id="2147483669" r:id="rId12"/>
    <p:sldLayoutId id="2147484025" r:id="rId13"/>
    <p:sldLayoutId id="2147483670" r:id="rId14"/>
    <p:sldLayoutId id="2147483671" r:id="rId15"/>
    <p:sldLayoutId id="2147483672" r:id="rId16"/>
    <p:sldLayoutId id="2147484026" r:id="rId17"/>
    <p:sldLayoutId id="2147483673" r:id="rId18"/>
    <p:sldLayoutId id="2147484030" r:id="rId19"/>
    <p:sldLayoutId id="2147484031" r:id="rId20"/>
    <p:sldLayoutId id="2147484038" r:id="rId2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3429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indent="-28575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indent="-28575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1786E930-AFA0-0F43-AA19-D751AD4C71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PowerPoint Template</a:t>
            </a:r>
          </a:p>
        </p:txBody>
      </p:sp>
    </p:spTree>
    <p:extLst>
      <p:ext uri="{BB962C8B-B14F-4D97-AF65-F5344CB8AC3E}">
        <p14:creationId xmlns:p14="http://schemas.microsoft.com/office/powerpoint/2010/main" val="13973039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4024" r:id="rId3"/>
    <p:sldLayoutId id="2147483875" r:id="rId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0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C306BC44-B557-4D4A-A37C-AC42A50AF0F8}"/>
              </a:ext>
            </a:extLst>
          </p:cNvPr>
          <p:cNvSpPr/>
          <p:nvPr userDrawn="1"/>
        </p:nvSpPr>
        <p:spPr>
          <a:xfrm>
            <a:off x="0" y="0"/>
            <a:ext cx="12192000" cy="728663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McGraw Hill Templat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3649380-23AE-854E-9BC8-848AEBBD08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6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D1F38E-E8A4-5947-852A-218D9AFA28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408" y="190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3195602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1" r:id="rId1"/>
    <p:sldLayoutId id="2147483882" r:id="rId2"/>
    <p:sldLayoutId id="2147483925" r:id="rId3"/>
    <p:sldLayoutId id="2147483883" r:id="rId4"/>
    <p:sldLayoutId id="2147483896" r:id="rId5"/>
    <p:sldLayoutId id="2147483898" r:id="rId6"/>
    <p:sldLayoutId id="2147483897" r:id="rId7"/>
    <p:sldLayoutId id="2147483880" r:id="rId8"/>
    <p:sldLayoutId id="2147483869" r:id="rId9"/>
    <p:sldLayoutId id="2147483885" r:id="rId10"/>
    <p:sldLayoutId id="2147483886" r:id="rId11"/>
    <p:sldLayoutId id="2147483888" r:id="rId12"/>
    <p:sldLayoutId id="2147483922" r:id="rId13"/>
    <p:sldLayoutId id="2147483923" r:id="rId14"/>
    <p:sldLayoutId id="2147483924" r:id="rId15"/>
    <p:sldLayoutId id="2147483887" r:id="rId16"/>
    <p:sldLayoutId id="2147483966" r:id="rId17"/>
    <p:sldLayoutId id="2147483967" r:id="rId18"/>
    <p:sldLayoutId id="2147483968" r:id="rId1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6" pos="3840" userDrawn="1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2285" y="315430"/>
            <a:ext cx="11313466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2285" y="1825625"/>
            <a:ext cx="11313466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7B5927-1581-294F-B094-8C1C0027CF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5684134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06" imgH="403" progId="TCLayout.ActiveDocument.1">
                  <p:embed/>
                </p:oleObj>
              </mc:Choice>
              <mc:Fallback>
                <p:oleObj name="think-cell Slide" r:id="rId17" imgW="406" imgH="40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7B5927-1581-294F-B094-8C1C0027CF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06F0E88-EA22-6F44-8DFA-A231331C1A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5026A7-14AA-E140-B827-E87D9F8435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r>
              <a:rPr lang="en-US"/>
              <a:t>77</a:t>
            </a:r>
          </a:p>
        </p:txBody>
      </p:sp>
    </p:spTree>
    <p:extLst>
      <p:ext uri="{BB962C8B-B14F-4D97-AF65-F5344CB8AC3E}">
        <p14:creationId xmlns:p14="http://schemas.microsoft.com/office/powerpoint/2010/main" val="3241445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2" r:id="rId1"/>
    <p:sldLayoutId id="2147483791" r:id="rId2"/>
    <p:sldLayoutId id="2147483803" r:id="rId3"/>
    <p:sldLayoutId id="2147483784" r:id="rId4"/>
    <p:sldLayoutId id="2147483785" r:id="rId5"/>
    <p:sldLayoutId id="2147483793" r:id="rId6"/>
    <p:sldLayoutId id="2147483795" r:id="rId7"/>
    <p:sldLayoutId id="2147483796" r:id="rId8"/>
    <p:sldLayoutId id="2147483797" r:id="rId9"/>
    <p:sldLayoutId id="2147483798" r:id="rId10"/>
    <p:sldLayoutId id="2147483799" r:id="rId11"/>
    <p:sldLayoutId id="2147483800" r:id="rId12"/>
    <p:sldLayoutId id="2147483801" r:id="rId13"/>
    <p:sldLayoutId id="2147484037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Magazine Grotesque Bold" pitchFamily="2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68688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6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721626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2" r:id="rId1"/>
    <p:sldLayoutId id="2147483884" r:id="rId2"/>
    <p:sldLayoutId id="2147484034" r:id="rId3"/>
    <p:sldLayoutId id="2147484033" r:id="rId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6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EEFEEBE7-2301-DAE8-5FED-C2008DAEA8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212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5" r:id="rId2"/>
    <p:sldLayoutId id="2147483729" r:id="rId3"/>
    <p:sldLayoutId id="2147483724" r:id="rId4"/>
    <p:sldLayoutId id="2147483726" r:id="rId5"/>
    <p:sldLayoutId id="2147483728" r:id="rId6"/>
    <p:sldLayoutId id="2147483727" r:id="rId7"/>
    <p:sldLayoutId id="2147483730" r:id="rId8"/>
    <p:sldLayoutId id="2147483731" r:id="rId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marR="0" indent="-3429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00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2864E1BE-276C-2AE9-C09F-9B5AE473E8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2222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851" r:id="rId3"/>
    <p:sldLayoutId id="2147483853" r:id="rId4"/>
    <p:sldLayoutId id="2147483854" r:id="rId5"/>
    <p:sldLayoutId id="2147483823" r:id="rId6"/>
    <p:sldLayoutId id="2147484007" r:id="rId7"/>
    <p:sldLayoutId id="2147484008" r:id="rId8"/>
    <p:sldLayoutId id="2147484009" r:id="rId9"/>
    <p:sldLayoutId id="2147484010" r:id="rId10"/>
    <p:sldLayoutId id="2147484040" r:id="rId11"/>
    <p:sldLayoutId id="2147484041" r:id="rId12"/>
    <p:sldLayoutId id="2147484042" r:id="rId1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00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343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AA7FF24D-3083-F0BB-5689-D44065EF22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17356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991" r:id="rId4"/>
    <p:sldLayoutId id="2147483992" r:id="rId5"/>
    <p:sldLayoutId id="2147483759" r:id="rId6"/>
    <p:sldLayoutId id="2147483760" r:id="rId7"/>
    <p:sldLayoutId id="2147483761" r:id="rId8"/>
    <p:sldLayoutId id="2147483762" r:id="rId9"/>
    <p:sldLayoutId id="2147483804" r:id="rId10"/>
    <p:sldLayoutId id="2147483807" r:id="rId11"/>
    <p:sldLayoutId id="2147483810" r:id="rId12"/>
    <p:sldLayoutId id="2147483813" r:id="rId13"/>
    <p:sldLayoutId id="2147483805" r:id="rId14"/>
    <p:sldLayoutId id="2147483808" r:id="rId15"/>
    <p:sldLayoutId id="2147483811" r:id="rId16"/>
    <p:sldLayoutId id="2147484028" r:id="rId17"/>
    <p:sldLayoutId id="2147483806" r:id="rId18"/>
    <p:sldLayoutId id="2147483809" r:id="rId19"/>
    <p:sldLayoutId id="2147483812" r:id="rId20"/>
    <p:sldLayoutId id="2147483815" r:id="rId21"/>
    <p:sldLayoutId id="2147483816" r:id="rId22"/>
    <p:sldLayoutId id="2147483817" r:id="rId23"/>
    <p:sldLayoutId id="2147483818" r:id="rId24"/>
    <p:sldLayoutId id="2147483819" r:id="rId25"/>
    <p:sldLayoutId id="2147484027" r:id="rId26"/>
    <p:sldLayoutId id="2147483822" r:id="rId27"/>
    <p:sldLayoutId id="2147484006" r:id="rId28"/>
    <p:sldLayoutId id="2147483994" r:id="rId29"/>
    <p:sldLayoutId id="2147483995" r:id="rId30"/>
    <p:sldLayoutId id="2147483996" r:id="rId31"/>
    <p:sldLayoutId id="2147484003" r:id="rId32"/>
    <p:sldLayoutId id="2147484039" r:id="rId3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00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343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5D7CD0AD-3FBA-9E80-E8BE-87BF97A9B0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00731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4029" r:id="rId2"/>
    <p:sldLayoutId id="2147483764" r:id="rId3"/>
    <p:sldLayoutId id="2147483993" r:id="rId4"/>
    <p:sldLayoutId id="2147483765" r:id="rId5"/>
    <p:sldLayoutId id="2147483766" r:id="rId6"/>
    <p:sldLayoutId id="2147483767" r:id="rId7"/>
    <p:sldLayoutId id="2147483792" r:id="rId8"/>
    <p:sldLayoutId id="2147484035" r:id="rId9"/>
    <p:sldLayoutId id="2147483794" r:id="rId10"/>
    <p:sldLayoutId id="2147483997" r:id="rId11"/>
    <p:sldLayoutId id="2147483998" r:id="rId12"/>
    <p:sldLayoutId id="2147483999" r:id="rId13"/>
    <p:sldLayoutId id="2147483983" r:id="rId1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C306BC44-B557-4D4A-A37C-AC42A50AF0F8}"/>
              </a:ext>
            </a:extLst>
          </p:cNvPr>
          <p:cNvSpPr/>
          <p:nvPr userDrawn="1"/>
        </p:nvSpPr>
        <p:spPr>
          <a:xfrm>
            <a:off x="0" y="0"/>
            <a:ext cx="12192000" cy="728663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D1F38E-E8A4-5947-852A-218D9AFA28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408" y="190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McGraw Hill Templat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A42F38E9-DDDD-6F6F-F59C-5DF1E3FF6F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0487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8" r:id="rId4"/>
    <p:sldLayoutId id="2147483829" r:id="rId5"/>
    <p:sldLayoutId id="2147483830" r:id="rId6"/>
    <p:sldLayoutId id="2147483831" r:id="rId7"/>
    <p:sldLayoutId id="2147483832" r:id="rId8"/>
    <p:sldLayoutId id="2147483833" r:id="rId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6" pos="384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C306BC44-B557-4D4A-A37C-AC42A50AF0F8}"/>
              </a:ext>
            </a:extLst>
          </p:cNvPr>
          <p:cNvSpPr/>
          <p:nvPr userDrawn="1"/>
        </p:nvSpPr>
        <p:spPr>
          <a:xfrm>
            <a:off x="0" y="0"/>
            <a:ext cx="12192000" cy="728663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D1F38E-E8A4-5947-852A-218D9AFA28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408" y="190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McGraw Hill Templat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A42F38E9-DDDD-6F6F-F59C-5DF1E3FF6F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0315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5" r:id="rId1"/>
    <p:sldLayoutId id="2147483986" r:id="rId2"/>
    <p:sldLayoutId id="2147483987" r:id="rId3"/>
    <p:sldLayoutId id="2147483988" r:id="rId4"/>
    <p:sldLayoutId id="2147483989" r:id="rId5"/>
    <p:sldLayoutId id="2147483990" r:id="rId6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6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tudysharpen.com/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5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6.png"/><Relationship Id="rId7" Type="http://schemas.microsoft.com/office/2007/relationships/hdphoto" Target="../media/hdphoto1.wdp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4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4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4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5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7" Type="http://schemas.openxmlformats.org/officeDocument/2006/relationships/image" Target="../media/image5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image" Target="../media/image3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54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35.png"/><Relationship Id="rId4" Type="http://schemas.openxmlformats.org/officeDocument/2006/relationships/image" Target="../media/image6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62.png"/><Relationship Id="rId4" Type="http://schemas.openxmlformats.org/officeDocument/2006/relationships/image" Target="../media/image50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6.png"/><Relationship Id="rId7" Type="http://schemas.microsoft.com/office/2007/relationships/hdphoto" Target="../media/hdphoto1.wdp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3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40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64.png"/><Relationship Id="rId4" Type="http://schemas.openxmlformats.org/officeDocument/2006/relationships/image" Target="../media/image46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6.png"/><Relationship Id="rId7" Type="http://schemas.openxmlformats.org/officeDocument/2006/relationships/image" Target="../media/image39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5.xml"/><Relationship Id="rId6" Type="http://schemas.microsoft.com/office/2007/relationships/hdphoto" Target="../media/hdphoto1.wdp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8.xml"/><Relationship Id="rId6" Type="http://schemas.openxmlformats.org/officeDocument/2006/relationships/image" Target="../media/image29.png"/><Relationship Id="rId5" Type="http://schemas.openxmlformats.org/officeDocument/2006/relationships/image" Target="../media/image28.svg"/><Relationship Id="rId4" Type="http://schemas.openxmlformats.org/officeDocument/2006/relationships/image" Target="../media/image2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4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4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5.xml"/><Relationship Id="rId6" Type="http://schemas.openxmlformats.org/officeDocument/2006/relationships/image" Target="../media/image39.png"/><Relationship Id="rId5" Type="http://schemas.microsoft.com/office/2007/relationships/hdphoto" Target="../media/hdphoto1.wdp"/><Relationship Id="rId4" Type="http://schemas.openxmlformats.org/officeDocument/2006/relationships/image" Target="../media/image3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C5483EE-6588-8FB8-5E2B-7BC513C15E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004" y="1042819"/>
            <a:ext cx="7425786" cy="690503"/>
          </a:xfrm>
        </p:spPr>
        <p:txBody>
          <a:bodyPr>
            <a:normAutofit fontScale="90000"/>
          </a:bodyPr>
          <a:lstStyle/>
          <a:p>
            <a:r>
              <a:rPr lang="en-US" sz="2200" dirty="0">
                <a:latin typeface="Arial"/>
                <a:cs typeface="Arial"/>
              </a:rPr>
              <a:t>Slides Available for the First Day of Class: Sharpen Companion, non-IA, D2L Brightspace</a:t>
            </a:r>
            <a:endParaRPr lang="en-US" sz="2200" b="0" dirty="0">
              <a:solidFill>
                <a:srgbClr val="000000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54EA526-D390-E19A-BD6B-0CD609A59E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>
                <a:latin typeface="Arial"/>
                <a:cs typeface="Arial"/>
              </a:rPr>
              <a:t>McGraw Hill First Day of Class 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BDD4F1-225D-2004-AEB8-C78EE5CDD1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McGraw Hil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7EDD6-0CCE-0360-3FC6-8FB4742E8D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6866" y="1713604"/>
            <a:ext cx="6888419" cy="996829"/>
          </a:xfrm>
        </p:spPr>
        <p:txBody>
          <a:bodyPr vert="horz" lIns="91440" tIns="45720" rIns="91440" bIns="45720" rtlCol="0" anchor="t">
            <a:noAutofit/>
          </a:bodyPr>
          <a:lstStyle/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67892B8-AB1F-0462-871B-2BFA44332D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86966" y="1951406"/>
            <a:ext cx="8574933" cy="3746527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buFont typeface="Wingdings,Sans-Serif" panose="020B0604020202020204" pitchFamily="34" charset="0"/>
              <a:buChar char="q"/>
            </a:pPr>
            <a:r>
              <a:rPr lang="en-US" sz="1400" b="1" dirty="0">
                <a:latin typeface="Arial"/>
                <a:cs typeface="Arial"/>
              </a:rPr>
              <a:t>McGraw Hill GO </a:t>
            </a:r>
            <a:r>
              <a:rPr lang="en-US" sz="1400" dirty="0">
                <a:latin typeface="Arial"/>
                <a:cs typeface="Arial"/>
              </a:rPr>
              <a:t>2 – 7</a:t>
            </a:r>
            <a:endParaRPr lang="en-US" sz="1400" dirty="0"/>
          </a:p>
          <a:p>
            <a:pPr>
              <a:buFont typeface="Wingdings,Sans-Serif" panose="020B0604020202020204" pitchFamily="34" charset="0"/>
              <a:buChar char="q"/>
            </a:pPr>
            <a:r>
              <a:rPr lang="en-US" sz="1400" b="1" dirty="0">
                <a:latin typeface="Arial"/>
                <a:cs typeface="Arial"/>
              </a:rPr>
              <a:t>McGraw Hill GO and Sharpen</a:t>
            </a:r>
            <a:r>
              <a:rPr lang="en-US" sz="1400" dirty="0">
                <a:latin typeface="Arial"/>
                <a:cs typeface="Arial"/>
              </a:rPr>
              <a:t>:</a:t>
            </a:r>
            <a:endParaRPr lang="en-US" dirty="0"/>
          </a:p>
          <a:p>
            <a:pPr lvl="1">
              <a:spcBef>
                <a:spcPts val="500"/>
              </a:spcBef>
              <a:buFont typeface="Wingdings,Sans-Serif" panose="020B0604020202020204" pitchFamily="34" charset="0"/>
              <a:buChar char="q"/>
            </a:pPr>
            <a:r>
              <a:rPr lang="en-US" sz="1400" dirty="0">
                <a:latin typeface="Arial"/>
                <a:cs typeface="Arial"/>
              </a:rPr>
              <a:t>GO and Sharpen Companion FDOC Slides 8 – 12</a:t>
            </a:r>
            <a:endParaRPr lang="en-US" sz="1400" dirty="0"/>
          </a:p>
          <a:p>
            <a:pPr lvl="1">
              <a:spcBef>
                <a:spcPts val="500"/>
              </a:spcBef>
              <a:buFont typeface="Wingdings,Sans-Serif" panose="020B0604020202020204" pitchFamily="34" charset="0"/>
              <a:buChar char="q"/>
            </a:pPr>
            <a:r>
              <a:rPr lang="en-US" sz="1400" dirty="0">
                <a:latin typeface="Arial"/>
                <a:cs typeface="Arial"/>
              </a:rPr>
              <a:t>GO Purchase Flows</a:t>
            </a:r>
          </a:p>
          <a:p>
            <a:pPr lvl="2">
              <a:spcBef>
                <a:spcPts val="500"/>
              </a:spcBef>
              <a:buFont typeface="Wingdings" panose="020B0604020202020204" pitchFamily="34" charset="0"/>
              <a:buChar char="§"/>
            </a:pPr>
            <a:r>
              <a:rPr lang="en-US" dirty="0">
                <a:latin typeface="Arial"/>
                <a:cs typeface="Arial"/>
              </a:rPr>
              <a:t>Non-IA: GO with an LMS: D2L Brightspace Slides 13 – 21</a:t>
            </a:r>
          </a:p>
          <a:p>
            <a:pPr lvl="1">
              <a:spcBef>
                <a:spcPts val="500"/>
              </a:spcBef>
              <a:buFont typeface="Wingdings,Sans-Serif" panose="020B0604020202020204" pitchFamily="34" charset="0"/>
              <a:buChar char="q"/>
            </a:pPr>
            <a:r>
              <a:rPr lang="en-US" sz="1400" dirty="0">
                <a:latin typeface="Arial"/>
                <a:cs typeface="Arial"/>
              </a:rPr>
              <a:t>GO Log-In Flow – Slides 22 – 24</a:t>
            </a:r>
          </a:p>
          <a:p>
            <a:pPr>
              <a:buFont typeface="Wingdings,Sans-Serif" panose="020B0604020202020204" pitchFamily="34" charset="0"/>
              <a:buChar char="q"/>
            </a:pPr>
            <a:endParaRPr lang="en-US" sz="1400" dirty="0"/>
          </a:p>
          <a:p>
            <a:pPr>
              <a:buFont typeface="Wingdings" panose="020B0604020202020204" pitchFamily="34" charset="0"/>
              <a:buChar char="q"/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9798977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F463E3-077C-3A58-C1E8-B041FE7F99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5CBB8BF-CF40-008B-335C-E1C2C81DB5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873" y="1020117"/>
            <a:ext cx="10750091" cy="365379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tudents, here are some tips to ace your exams with Sharpen: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C6BFD1-A69A-34C7-327D-C7873BCED9F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634" y="1736495"/>
            <a:ext cx="10706330" cy="4926951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Exam Prep</a:t>
            </a:r>
            <a:endParaRPr lang="en-US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>
                <a:latin typeface="Arial"/>
                <a:cs typeface="Arial"/>
              </a:rPr>
              <a:t>Spend 10 minutes on Quiz Bank to confirm what you know and check Improve for tips to master concepts you missed. </a:t>
            </a:r>
          </a:p>
          <a:p>
            <a:pPr>
              <a:spcAft>
                <a:spcPts val="600"/>
              </a:spcAft>
            </a:pPr>
            <a:endParaRPr lang="en-US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Weekly Review</a:t>
            </a:r>
            <a:endParaRPr lang="en-US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>
                <a:latin typeface="Arial"/>
                <a:cs typeface="Arial"/>
              </a:rPr>
              <a:t>Flip through Sharpen flashcards for 5 minutes to test yourself on chapters covered in class.  </a:t>
            </a:r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endParaRPr lang="en-US" sz="1800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Refresher Before Class</a:t>
            </a:r>
            <a:endParaRPr lang="en-US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>
                <a:latin typeface="Arial"/>
                <a:cs typeface="Arial"/>
              </a:rPr>
              <a:t>Spend 5 minutes on Sharpen summaries and videos to review key concepts.</a:t>
            </a:r>
            <a:endParaRPr lang="en-US" sz="1800"/>
          </a:p>
          <a:p>
            <a:pPr>
              <a:spcAft>
                <a:spcPts val="600"/>
              </a:spcAft>
            </a:pPr>
            <a:endParaRPr lang="en-US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24/7 Access</a:t>
            </a:r>
            <a:endParaRPr lang="en-US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>
                <a:latin typeface="Arial"/>
                <a:cs typeface="Arial"/>
              </a:rPr>
              <a:t>Download the Sharpen mobile phone app for iOS or Android. On laptops or tablets, log into Sharpen at </a:t>
            </a:r>
            <a:r>
              <a:rPr lang="en-US" sz="1800">
                <a:latin typeface="Arial"/>
                <a:cs typeface="Arial"/>
                <a:hlinkClick r:id="rId3"/>
              </a:rPr>
              <a:t>www.studysharpen.com</a:t>
            </a:r>
            <a:r>
              <a:rPr lang="en-US" sz="1800">
                <a:latin typeface="Arial"/>
                <a:cs typeface="Arial"/>
              </a:rPr>
              <a:t> or through the GO launch points. 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D5C94D9E-FC4D-03A3-8DAE-A761D5DD98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GO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323430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D447DA-790C-DC08-B987-3996A92DD5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C464A10-43F9-3430-2972-CA8AE92783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GO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333333"/>
              </a:solidFill>
              <a:latin typeface="Arial"/>
              <a:cs typeface="Arial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04919D9B-5B7C-9214-E598-94D20ED89F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sz="2200"/>
              <a:t>Sharpen is the ultimate college study app for exam prep</a:t>
            </a:r>
            <a:endParaRPr lang="en-US" sz="2200" b="0">
              <a:solidFill>
                <a:srgbClr val="000000"/>
              </a:solidFill>
            </a:endParaRPr>
          </a:p>
        </p:txBody>
      </p:sp>
      <p:pic>
        <p:nvPicPr>
          <p:cNvPr id="15" name="Picture 14" descr="Screenshots of Sharpen features on a mobile phone, left to right:&#10;Videos.&#10;Chapter summaries.&#10;Flashcards.&#10;Quiz bank for exam prep.&#10;The Improve section.">
            <a:extLst>
              <a:ext uri="{FF2B5EF4-FFF2-40B4-BE49-F238E27FC236}">
                <a16:creationId xmlns:a16="http://schemas.microsoft.com/office/drawing/2014/main" id="{4D7329B5-9022-32EB-171E-63A1E3CCA9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5854" y="1519947"/>
            <a:ext cx="11600292" cy="3438932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42CA7E5D-8879-FB6D-FC14-543B8C66B393}"/>
              </a:ext>
            </a:extLst>
          </p:cNvPr>
          <p:cNvSpPr txBox="1"/>
          <p:nvPr/>
        </p:nvSpPr>
        <p:spPr>
          <a:xfrm>
            <a:off x="403621" y="5248436"/>
            <a:ext cx="11653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IDEO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4357D24-178B-42E5-AB3D-6FDD8A46F991}"/>
              </a:ext>
            </a:extLst>
          </p:cNvPr>
          <p:cNvSpPr txBox="1"/>
          <p:nvPr/>
        </p:nvSpPr>
        <p:spPr>
          <a:xfrm>
            <a:off x="2569458" y="5170976"/>
            <a:ext cx="180777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APTER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MMARI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28A1D04-FFA7-A18E-39EB-83779F730771}"/>
              </a:ext>
            </a:extLst>
          </p:cNvPr>
          <p:cNvSpPr txBox="1"/>
          <p:nvPr/>
        </p:nvSpPr>
        <p:spPr>
          <a:xfrm>
            <a:off x="5067562" y="5294602"/>
            <a:ext cx="200574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LASHCARD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44B6544-82B2-43AD-ED31-6A2AB6AC827A}"/>
              </a:ext>
            </a:extLst>
          </p:cNvPr>
          <p:cNvSpPr txBox="1"/>
          <p:nvPr/>
        </p:nvSpPr>
        <p:spPr>
          <a:xfrm>
            <a:off x="7543610" y="5140714"/>
            <a:ext cx="200574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UIZ BANK FOR EXAM PREP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663C3E1-5627-25CB-FD55-C9E58B6367C0}"/>
              </a:ext>
            </a:extLst>
          </p:cNvPr>
          <p:cNvSpPr txBox="1"/>
          <p:nvPr/>
        </p:nvSpPr>
        <p:spPr>
          <a:xfrm>
            <a:off x="10239677" y="5110764"/>
            <a:ext cx="147736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MPROVE SECTION</a:t>
            </a:r>
          </a:p>
        </p:txBody>
      </p:sp>
    </p:spTree>
    <p:extLst>
      <p:ext uri="{BB962C8B-B14F-4D97-AF65-F5344CB8AC3E}">
        <p14:creationId xmlns:p14="http://schemas.microsoft.com/office/powerpoint/2010/main" val="38468920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907213-A707-EC3D-86F8-53F5E0D8C4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>
            <a:extLst>
              <a:ext uri="{FF2B5EF4-FFF2-40B4-BE49-F238E27FC236}">
                <a16:creationId xmlns:a16="http://schemas.microsoft.com/office/drawing/2014/main" id="{4B94B5E8-2BCF-1828-DB35-942AD1F907C9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2383971" y="896257"/>
            <a:ext cx="7614557" cy="40011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ownload the Sharpen College Study App – Scan This Code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​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EF276E3F-33FB-BE4F-F713-E9A4C880F5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GO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333333"/>
              </a:solidFill>
              <a:latin typeface="Arial"/>
              <a:cs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13EC432-46B9-C464-C356-783397E4CF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195975" y="2114158"/>
            <a:ext cx="3566160" cy="3581973"/>
          </a:xfrm>
          <a:prstGeom prst="rect">
            <a:avLst/>
          </a:prstGeom>
          <a:solidFill>
            <a:srgbClr val="F6F7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Magazine Grotesque" panose="00000500000000000000" pitchFamily="50" charset="0"/>
              <a:ea typeface="+mn-ea"/>
              <a:cs typeface="+mn-cs"/>
            </a:endParaRPr>
          </a:p>
        </p:txBody>
      </p:sp>
      <p:pic>
        <p:nvPicPr>
          <p:cNvPr id="7" name="Google Shape;407;p82" descr="Sharpen logo.">
            <a:extLst>
              <a:ext uri="{FF2B5EF4-FFF2-40B4-BE49-F238E27FC236}">
                <a16:creationId xmlns:a16="http://schemas.microsoft.com/office/drawing/2014/main" id="{BCD10E74-E6CC-69D3-273E-3F8B20555A35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195975" y="1296154"/>
            <a:ext cx="3566160" cy="895006"/>
          </a:xfrm>
          <a:prstGeom prst="rect">
            <a:avLst/>
          </a:prstGeom>
          <a:noFill/>
          <a:ln>
            <a:noFill/>
          </a:ln>
        </p:spPr>
      </p:pic>
      <p:pic>
        <p:nvPicPr>
          <p:cNvPr id="20" name="Picture 19" descr="QR code to download Sharpen.">
            <a:extLst>
              <a:ext uri="{FF2B5EF4-FFF2-40B4-BE49-F238E27FC236}">
                <a16:creationId xmlns:a16="http://schemas.microsoft.com/office/drawing/2014/main" id="{F906D3EC-08BC-DD17-EAD4-7FD955FEB2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95975" y="2042355"/>
            <a:ext cx="3642847" cy="3653776"/>
          </a:xfrm>
          <a:prstGeom prst="rect">
            <a:avLst/>
          </a:prstGeom>
        </p:spPr>
      </p:pic>
      <p:pic>
        <p:nvPicPr>
          <p:cNvPr id="10" name="Picture 10" descr="Apple App Store icon.">
            <a:extLst>
              <a:ext uri="{FF2B5EF4-FFF2-40B4-BE49-F238E27FC236}">
                <a16:creationId xmlns:a16="http://schemas.microsoft.com/office/drawing/2014/main" id="{E6D44E2D-3B65-CCC9-347C-711DC31201D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60" b="5482"/>
          <a:stretch/>
        </p:blipFill>
        <p:spPr bwMode="auto">
          <a:xfrm>
            <a:off x="3527861" y="5875918"/>
            <a:ext cx="2451194" cy="760743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2" descr="Google Play Store icon.">
            <a:extLst>
              <a:ext uri="{FF2B5EF4-FFF2-40B4-BE49-F238E27FC236}">
                <a16:creationId xmlns:a16="http://schemas.microsoft.com/office/drawing/2014/main" id="{F1A3E2B8-A8B1-7C32-EA1C-7A2D9E7CFB4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50" t="16958" r="10618" b="17565"/>
          <a:stretch/>
        </p:blipFill>
        <p:spPr bwMode="auto">
          <a:xfrm>
            <a:off x="6122230" y="5875918"/>
            <a:ext cx="2451195" cy="760743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07667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18C956-BA12-9B0A-A0C3-E6E98A66CB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8C226EA-6B8D-123B-A02F-C52E17DCF1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80C50471-9679-0B14-B87B-ED31FADA15F2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98651" y="2662133"/>
            <a:ext cx="3661086" cy="1420574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Getting Started with McGraw Hill GO</a:t>
            </a:r>
            <a:r>
              <a:rPr kumimoji="0" lang="en-US" sz="2400" b="1" i="0" u="none" strike="noStrike" kern="1200" cap="none" spc="0" normalizeH="0" baseline="3000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®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 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accent4">
                    <a:lumMod val="75000"/>
                  </a:schemeClr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and Sharpen</a:t>
            </a:r>
            <a:endParaRPr kumimoji="0" lang="en-US" sz="2400" b="1" i="0" u="none" strike="noStrike" kern="1200" cap="none" spc="0" normalizeH="0" baseline="30000" noProof="0">
              <a:ln>
                <a:noFill/>
              </a:ln>
              <a:solidFill>
                <a:schemeClr val="accent4">
                  <a:lumMod val="75000"/>
                </a:schemeClr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0D3FA68-E9EB-2F7C-383A-89CC870333EF}"/>
              </a:ext>
            </a:extLst>
          </p:cNvPr>
          <p:cNvSpPr txBox="1">
            <a:spLocks/>
          </p:cNvSpPr>
          <p:nvPr/>
        </p:nvSpPr>
        <p:spPr>
          <a:xfrm>
            <a:off x="101373" y="4090759"/>
            <a:ext cx="3572059" cy="67862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What to Know on Your</a:t>
            </a:r>
            <a:br>
              <a:rPr lang="en-US"/>
            </a:br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First Day of Clas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029465-4BED-8319-FA0E-043C2BDCBA6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27490" y="1714895"/>
            <a:ext cx="7081838" cy="4450670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en-US" sz="2400" b="1">
                <a:latin typeface="Arial"/>
                <a:cs typeface="Arial"/>
              </a:rPr>
              <a:t>Sharpen Companion Purchase Flow</a:t>
            </a: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US" sz="2000" b="1">
                <a:solidFill>
                  <a:srgbClr val="333333"/>
                </a:solidFill>
                <a:latin typeface="Arial"/>
                <a:cs typeface="Arial"/>
              </a:rPr>
              <a:t>GO: Non-IA Integrated with a Learning Management System (LMS)</a:t>
            </a:r>
            <a:endParaRPr lang="en-US" sz="2000" b="1">
              <a:solidFill>
                <a:srgbClr val="333333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1200"/>
              </a:spcBef>
              <a:buNone/>
            </a:pPr>
            <a:endParaRPr lang="en-US" sz="1400" b="1">
              <a:latin typeface="Arial"/>
              <a:cs typeface="Arial"/>
            </a:endParaRPr>
          </a:p>
          <a:p>
            <a:pPr marL="0" indent="0">
              <a:lnSpc>
                <a:spcPct val="100000"/>
              </a:lnSpc>
              <a:spcBef>
                <a:spcPts val="1200"/>
              </a:spcBef>
              <a:buNone/>
            </a:pPr>
            <a:endParaRPr lang="en-US" sz="140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D5FB43A-034C-3848-81B3-CAC79A1A71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0242" t="15990" b="239"/>
          <a:stretch/>
        </p:blipFill>
        <p:spPr>
          <a:xfrm>
            <a:off x="3884263" y="3036615"/>
            <a:ext cx="4832785" cy="3812191"/>
          </a:xfrm>
          <a:prstGeom prst="rect">
            <a:avLst/>
          </a:prstGeom>
        </p:spPr>
      </p:pic>
      <p:pic>
        <p:nvPicPr>
          <p:cNvPr id="17" name="Picture 16" descr="Sharpen on a computer and mobile phone.">
            <a:extLst>
              <a:ext uri="{FF2B5EF4-FFF2-40B4-BE49-F238E27FC236}">
                <a16:creationId xmlns:a16="http://schemas.microsoft.com/office/drawing/2014/main" id="{55D02419-737E-4296-181C-4CFAC10BC38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02041" y="2958729"/>
            <a:ext cx="2562641" cy="1959862"/>
          </a:xfrm>
          <a:prstGeom prst="rect">
            <a:avLst/>
          </a:prstGeom>
        </p:spPr>
      </p:pic>
      <p:grpSp>
        <p:nvGrpSpPr>
          <p:cNvPr id="15" name="Group 14" descr="GO on a computer screen.">
            <a:extLst>
              <a:ext uri="{FF2B5EF4-FFF2-40B4-BE49-F238E27FC236}">
                <a16:creationId xmlns:a16="http://schemas.microsoft.com/office/drawing/2014/main" id="{17DD0595-6E30-8A68-B26C-88F5F436C57A}"/>
              </a:ext>
            </a:extLst>
          </p:cNvPr>
          <p:cNvGrpSpPr/>
          <p:nvPr/>
        </p:nvGrpSpPr>
        <p:grpSpPr>
          <a:xfrm>
            <a:off x="7937330" y="4767191"/>
            <a:ext cx="2163757" cy="1870872"/>
            <a:chOff x="2661057" y="4201464"/>
            <a:chExt cx="2937302" cy="2401962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7FC2D622-DCD5-1007-0F1E-3DC4234D1903}"/>
                </a:ext>
              </a:extLst>
            </p:cNvPr>
            <p:cNvGrpSpPr/>
            <p:nvPr/>
          </p:nvGrpSpPr>
          <p:grpSpPr>
            <a:xfrm>
              <a:off x="2661057" y="4201464"/>
              <a:ext cx="2937302" cy="2401962"/>
              <a:chOff x="-3150430" y="816996"/>
              <a:chExt cx="2937302" cy="2401962"/>
            </a:xfrm>
          </p:grpSpPr>
          <p:pic>
            <p:nvPicPr>
              <p:cNvPr id="13" name="Picture 12" descr="Course with McGraw Hill Connect ...">
                <a:extLst>
                  <a:ext uri="{FF2B5EF4-FFF2-40B4-BE49-F238E27FC236}">
                    <a16:creationId xmlns:a16="http://schemas.microsoft.com/office/drawing/2014/main" id="{8CE36155-20A3-D23D-4C54-FA6F93F560D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-2975189" y="1058723"/>
                <a:ext cx="2596243" cy="1298121"/>
              </a:xfrm>
              <a:prstGeom prst="rect">
                <a:avLst/>
              </a:prstGeom>
            </p:spPr>
          </p:pic>
          <p:pic>
            <p:nvPicPr>
              <p:cNvPr id="14" name="Picture 2" descr="Mac Icon png download - 1153*945 - Free Transparent Macbook Pro png  Download. - CleanPNG / KissPNG">
                <a:extLst>
                  <a:ext uri="{FF2B5EF4-FFF2-40B4-BE49-F238E27FC236}">
                    <a16:creationId xmlns:a16="http://schemas.microsoft.com/office/drawing/2014/main" id="{FFFF002C-1659-95F0-B7D8-7D219D51123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 cstate="print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ackgroundRemoval t="2568" b="96216" l="1000" r="99667">
                            <a14:foregroundMark x1="1000" y1="6351" x2="1000" y2="6351"/>
                            <a14:foregroundMark x1="3333" y1="4459" x2="13889" y2="3378"/>
                            <a14:foregroundMark x1="13889" y1="3378" x2="14111" y2="3243"/>
                            <a14:foregroundMark x1="65889" y1="3243" x2="78667" y2="3378"/>
                            <a14:foregroundMark x1="97222" y1="3649" x2="98222" y2="6757"/>
                            <a14:foregroundMark x1="83444" y1="71216" x2="90111" y2="72027"/>
                            <a14:foregroundMark x1="61111" y1="75946" x2="73889" y2="76216"/>
                            <a14:foregroundMark x1="46333" y1="77838" x2="57889" y2="78378"/>
                            <a14:foregroundMark x1="10111" y1="71892" x2="76444" y2="80676"/>
                            <a14:foregroundMark x1="76444" y1="80676" x2="90778" y2="79054"/>
                            <a14:foregroundMark x1="3889" y1="4730" x2="1222" y2="30000"/>
                            <a14:foregroundMark x1="26222" y1="3243" x2="60111" y2="2568"/>
                            <a14:foregroundMark x1="96556" y1="6892" x2="99667" y2="48784"/>
                            <a14:foregroundMark x1="99667" y1="48784" x2="97222" y2="70811"/>
                            <a14:foregroundMark x1="83778" y1="71622" x2="61111" y2="72703"/>
                            <a14:foregroundMark x1="3667" y1="70270" x2="29222" y2="73108"/>
                            <a14:foregroundMark x1="29222" y1="73108" x2="66444" y2="71622"/>
                            <a14:foregroundMark x1="1889" y1="77973" x2="20667" y2="77568"/>
                            <a14:foregroundMark x1="2000" y1="41486" x2="3667" y2="48784"/>
                            <a14:foregroundMark x1="2000" y1="29730" x2="2667" y2="70541"/>
                            <a14:foregroundMark x1="18333" y1="3243" x2="26111" y2="3378"/>
                            <a14:foregroundMark x1="48000" y1="87027" x2="54111" y2="86351"/>
                            <a14:foregroundMark x1="43111" y1="86081" x2="51556" y2="95811"/>
                            <a14:foregroundMark x1="51556" y1="95811" x2="56889" y2="96216"/>
                            <a14:foregroundMark x1="96556" y1="79054" x2="96556" y2="79054"/>
                            <a14:foregroundMark x1="94889" y1="77432" x2="95556" y2="80405"/>
                            <a14:foregroundMark x1="66667" y1="83919" x2="83222" y2="84189"/>
                            <a14:foregroundMark x1="83222" y1="84189" x2="98333" y2="82973"/>
                            <a14:foregroundMark x1="98333" y1="82973" x2="99556" y2="74865"/>
                            <a14:foregroundMark x1="99556" y1="74865" x2="90556" y2="73514"/>
                            <a14:foregroundMark x1="90556" y1="73514" x2="71333" y2="79459"/>
                            <a14:foregroundMark x1="71333" y1="79459" x2="66778" y2="83243"/>
                            <a14:backgroundMark x1="13556" y1="11486" x2="14778" y2="18378"/>
                            <a14:backgroundMark x1="14778" y1="18378" x2="40889" y2="21351"/>
                            <a14:backgroundMark x1="40889" y1="21351" x2="78222" y2="49054"/>
                            <a14:backgroundMark x1="93333" y1="94189" x2="80000" y2="89730"/>
                            <a14:backgroundMark x1="29000" y1="92703" x2="8667" y2="93243"/>
                            <a14:backgroundMark x1="64333" y1="89459" x2="71667" y2="92432"/>
                            <a14:backgroundMark x1="71667" y1="92432" x2="73889" y2="98514"/>
                            <a14:backgroundMark x1="65889" y1="97703" x2="61556" y2="90946"/>
                            <a14:backgroundMark x1="61556" y1="90946" x2="69930" y2="86898"/>
                            <a14:backgroundMark x1="93618" y1="86176" x2="99333" y2="94865"/>
                            <a14:backgroundMark x1="99333" y1="94865" x2="99333" y2="98243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469"/>
              <a:stretch/>
            </p:blipFill>
            <p:spPr bwMode="auto">
              <a:xfrm>
                <a:off x="-3150430" y="816996"/>
                <a:ext cx="2937302" cy="240196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11" name="Picture 10" descr="McGraw Hill GO">
              <a:extLst>
                <a:ext uri="{FF2B5EF4-FFF2-40B4-BE49-F238E27FC236}">
                  <a16:creationId xmlns:a16="http://schemas.microsoft.com/office/drawing/2014/main" id="{4C7C94C0-9DF1-3257-66DB-868364ED504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830575" y="4458092"/>
              <a:ext cx="2588079" cy="124876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1777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D36C09F-B439-09FE-A7A7-0F8C9627B3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2716137"/>
            <a:ext cx="2308129" cy="1948908"/>
          </a:xfrm>
        </p:spPr>
        <p:txBody>
          <a:bodyPr>
            <a:normAutofit fontScale="90000"/>
          </a:bodyPr>
          <a:lstStyle/>
          <a:p>
            <a:r>
              <a:rPr lang="en-US" dirty="0">
                <a:latin typeface="Arial"/>
                <a:cs typeface="Arial"/>
              </a:rPr>
              <a:t>Accessing McGraw Hill GO:</a:t>
            </a:r>
            <a:br>
              <a:rPr lang="en-US" dirty="0">
                <a:latin typeface="Arial"/>
                <a:cs typeface="Arial"/>
              </a:rPr>
            </a:br>
            <a:br>
              <a:rPr lang="en-US" dirty="0">
                <a:latin typeface="Arial"/>
                <a:cs typeface="Arial"/>
              </a:rPr>
            </a:br>
            <a:r>
              <a:rPr lang="en-US" dirty="0"/>
              <a:t>D2L Brightspace</a:t>
            </a:r>
            <a:endParaRPr lang="en-US" dirty="0">
              <a:latin typeface="Arial"/>
              <a:cs typeface="Arial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B5F1E2-17B3-A013-C959-291EBE67D7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F4407B9-C4FE-A26A-3361-0E8BFA6B376A}"/>
              </a:ext>
            </a:extLst>
          </p:cNvPr>
          <p:cNvSpPr txBox="1"/>
          <p:nvPr/>
        </p:nvSpPr>
        <p:spPr>
          <a:xfrm>
            <a:off x="4496615" y="1627094"/>
            <a:ext cx="1739152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>
                <a:latin typeface="Arial"/>
                <a:ea typeface="Calibri"/>
                <a:cs typeface="Calibri"/>
              </a:rPr>
              <a:t>Step 1</a:t>
            </a:r>
            <a:endParaRPr lang="en-US" sz="2400" b="1">
              <a:latin typeface="Arial"/>
              <a:cs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77F7F22-620F-D413-39D6-32D26963AC64}"/>
              </a:ext>
            </a:extLst>
          </p:cNvPr>
          <p:cNvSpPr txBox="1"/>
          <p:nvPr/>
        </p:nvSpPr>
        <p:spPr>
          <a:xfrm>
            <a:off x="4491902" y="2138795"/>
            <a:ext cx="4985471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Calibri"/>
              </a:rPr>
              <a:t>To access McGraw Hill GO, select a GO assignment in the Content area of your D2L course.</a:t>
            </a:r>
            <a:endParaRPr lang="en-US"/>
          </a:p>
        </p:txBody>
      </p:sp>
      <p:pic>
        <p:nvPicPr>
          <p:cNvPr id="5" name="Picture 7" descr="Screenshot of Assignment in D2L platform. Yellow rectangle highlights the assignment.">
            <a:extLst>
              <a:ext uri="{FF2B5EF4-FFF2-40B4-BE49-F238E27FC236}">
                <a16:creationId xmlns:a16="http://schemas.microsoft.com/office/drawing/2014/main" id="{89755349-1DF1-853F-0154-04D452B098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20491" y="2871641"/>
            <a:ext cx="6276109" cy="366049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F6A38D4-6369-EC06-F064-DA339F582C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60637" y="5084040"/>
            <a:ext cx="2259773" cy="523008"/>
          </a:xfrm>
          <a:prstGeom prst="rect">
            <a:avLst/>
          </a:prstGeom>
          <a:ln>
            <a:solidFill>
              <a:srgbClr val="FFFF00"/>
            </a:solidFill>
          </a:ln>
        </p:spPr>
      </p:pic>
    </p:spTree>
    <p:extLst>
      <p:ext uri="{BB962C8B-B14F-4D97-AF65-F5344CB8AC3E}">
        <p14:creationId xmlns:p14="http://schemas.microsoft.com/office/powerpoint/2010/main" val="366281875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71391D-E201-BA3C-3345-95AE0DBC1E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65C88F3-1965-F346-9280-E8054823AF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2716137"/>
            <a:ext cx="2308129" cy="1948908"/>
          </a:xfrm>
        </p:spPr>
        <p:txBody>
          <a:bodyPr/>
          <a:lstStyle/>
          <a:p>
            <a:r>
              <a:rPr lang="en-US">
                <a:latin typeface="Arial"/>
                <a:cs typeface="Arial"/>
              </a:rPr>
              <a:t>Accessing McGraw Hill GO:</a:t>
            </a:r>
            <a:br>
              <a:rPr lang="en-US">
                <a:latin typeface="Arial"/>
                <a:cs typeface="Arial"/>
              </a:rPr>
            </a:br>
            <a:br>
              <a:rPr lang="en-US">
                <a:latin typeface="Arial"/>
                <a:cs typeface="Arial"/>
              </a:rPr>
            </a:br>
            <a:r>
              <a:rPr lang="en-US">
                <a:latin typeface="Arial"/>
                <a:cs typeface="Arial"/>
              </a:rPr>
              <a:t>Sharpe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15A62B-C6E1-B89F-441E-8073EAD973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FB2B50E-1FF2-7163-E66F-4284DEDDD39A}"/>
              </a:ext>
            </a:extLst>
          </p:cNvPr>
          <p:cNvSpPr txBox="1"/>
          <p:nvPr/>
        </p:nvSpPr>
        <p:spPr>
          <a:xfrm>
            <a:off x="4496615" y="1627094"/>
            <a:ext cx="1739152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>
                <a:latin typeface="Arial"/>
                <a:ea typeface="Calibri"/>
                <a:cs typeface="Calibri"/>
              </a:rPr>
              <a:t>Step 2</a:t>
            </a:r>
            <a:endParaRPr lang="en-US" sz="2400" b="1">
              <a:latin typeface="Arial"/>
              <a:cs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3A73DE0-A8C0-3BAF-9900-1831AF814678}"/>
              </a:ext>
            </a:extLst>
          </p:cNvPr>
          <p:cNvSpPr txBox="1"/>
          <p:nvPr/>
        </p:nvSpPr>
        <p:spPr>
          <a:xfrm>
            <a:off x="4639106" y="2231159"/>
            <a:ext cx="4540971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Calibri"/>
              </a:rPr>
              <a:t>Clicking on a GO assignment launches the Course Access Page. On this page, click </a:t>
            </a:r>
            <a:r>
              <a:rPr lang="en-US" b="1">
                <a:cs typeface="Calibri"/>
              </a:rPr>
              <a:t>Begin</a:t>
            </a:r>
            <a:r>
              <a:rPr lang="en-US">
                <a:cs typeface="Calibri"/>
              </a:rPr>
              <a:t>.  </a:t>
            </a:r>
            <a:endParaRPr lang="en-US">
              <a:ea typeface="Calibri"/>
              <a:cs typeface="Calibri"/>
            </a:endParaRPr>
          </a:p>
        </p:txBody>
      </p:sp>
      <p:pic>
        <p:nvPicPr>
          <p:cNvPr id="6" name="Picture 5" descr="GO registration launch point screenshot.">
            <a:extLst>
              <a:ext uri="{FF2B5EF4-FFF2-40B4-BE49-F238E27FC236}">
                <a16:creationId xmlns:a16="http://schemas.microsoft.com/office/drawing/2014/main" id="{D42719DA-CB14-B2F1-2CD1-152C78E8DC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9429" y="2858324"/>
            <a:ext cx="5569858" cy="138792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6A8D537-0422-1948-1A88-5CE3A1124B82}"/>
              </a:ext>
            </a:extLst>
          </p:cNvPr>
          <p:cNvSpPr txBox="1"/>
          <p:nvPr/>
        </p:nvSpPr>
        <p:spPr>
          <a:xfrm>
            <a:off x="5966834" y="4343979"/>
            <a:ext cx="5141335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Calibri"/>
              </a:rPr>
              <a:t>If your assignment launches in a new tab but your browser does not open it, click </a:t>
            </a:r>
            <a:r>
              <a:rPr lang="en-US" b="1">
                <a:cs typeface="Calibri"/>
              </a:rPr>
              <a:t>Launch Assignment</a:t>
            </a:r>
            <a:r>
              <a:rPr lang="en-US">
                <a:cs typeface="Calibri"/>
              </a:rPr>
              <a:t>. </a:t>
            </a:r>
            <a:endParaRPr lang="en-US">
              <a:ea typeface="Calibri"/>
              <a:cs typeface="Calibri"/>
            </a:endParaRPr>
          </a:p>
        </p:txBody>
      </p:sp>
      <p:pic>
        <p:nvPicPr>
          <p:cNvPr id="7" name="Picture 6" descr="GO registration launch point screenshot.">
            <a:extLst>
              <a:ext uri="{FF2B5EF4-FFF2-40B4-BE49-F238E27FC236}">
                <a16:creationId xmlns:a16="http://schemas.microsoft.com/office/drawing/2014/main" id="{43731934-FDE5-C168-3298-69AAFD7F2FD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53546" y="5006666"/>
            <a:ext cx="5391728" cy="1405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1192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B1196A-8BD5-D071-5AA4-B408B6D436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DF5BE6B-F80D-23F3-B1C4-E040F0F95F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2716137"/>
            <a:ext cx="2308129" cy="1948908"/>
          </a:xfrm>
        </p:spPr>
        <p:txBody>
          <a:bodyPr>
            <a:normAutofit fontScale="90000"/>
          </a:bodyPr>
          <a:lstStyle/>
          <a:p>
            <a:r>
              <a:rPr lang="en-US" dirty="0">
                <a:latin typeface="Arial"/>
                <a:cs typeface="Arial"/>
              </a:rPr>
              <a:t>Accessing McGraw Hill GO:</a:t>
            </a:r>
            <a:br>
              <a:rPr lang="en-US" dirty="0">
                <a:latin typeface="Arial"/>
                <a:cs typeface="Arial"/>
              </a:rPr>
            </a:br>
            <a:br>
              <a:rPr lang="en-US" dirty="0">
                <a:latin typeface="Arial"/>
                <a:cs typeface="Arial"/>
              </a:rPr>
            </a:br>
            <a:r>
              <a:rPr lang="en-US" dirty="0">
                <a:latin typeface="Arial"/>
                <a:cs typeface="Arial"/>
              </a:rPr>
              <a:t>Sharpen</a:t>
            </a:r>
            <a:br>
              <a:rPr lang="en-US" dirty="0">
                <a:latin typeface="Arial"/>
                <a:cs typeface="Arial"/>
              </a:rPr>
            </a:br>
            <a:r>
              <a:rPr lang="en-US" dirty="0">
                <a:latin typeface="Arial"/>
                <a:cs typeface="Arial"/>
              </a:rPr>
              <a:t>Purchas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6131E1B-5EA4-712E-D484-41A87A28AD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C3E97A4-3D6F-9A2D-A269-DBC38FBE896D}"/>
              </a:ext>
            </a:extLst>
          </p:cNvPr>
          <p:cNvSpPr txBox="1"/>
          <p:nvPr/>
        </p:nvSpPr>
        <p:spPr>
          <a:xfrm>
            <a:off x="4496615" y="1627094"/>
            <a:ext cx="1739152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 dirty="0">
                <a:latin typeface="Arial"/>
                <a:ea typeface="Calibri"/>
                <a:cs typeface="Calibri"/>
              </a:rPr>
              <a:t>Step 3</a:t>
            </a:r>
            <a:endParaRPr lang="en-US" sz="2400" b="1" dirty="0">
              <a:latin typeface="Arial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478FC7D3-8432-D99F-F873-0FC62898E07A}"/>
              </a:ext>
            </a:extLst>
          </p:cNvPr>
          <p:cNvSpPr txBox="1">
            <a:spLocks/>
          </p:cNvSpPr>
          <p:nvPr/>
        </p:nvSpPr>
        <p:spPr>
          <a:xfrm>
            <a:off x="4498385" y="2088415"/>
            <a:ext cx="7616060" cy="1882220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 lnSpcReduction="20000"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900">
                <a:solidFill>
                  <a:srgbClr val="333333"/>
                </a:solidFill>
                <a:latin typeface="Arial"/>
                <a:cs typeface="Arial"/>
              </a:rPr>
              <a:t>The first time you launch a GO assignment, 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you will see three registration options (right to left):</a:t>
            </a:r>
            <a:endParaRPr lang="en-US" sz="1800">
              <a:solidFill>
                <a:srgbClr val="000000"/>
              </a:solidFill>
            </a:endParaRPr>
          </a:p>
          <a:p>
            <a:pPr marL="342900" indent="-342900">
              <a:buAutoNum type="alphaUcPeriod"/>
            </a:pPr>
            <a:r>
              <a:rPr lang="en-US" sz="1800" b="1">
                <a:solidFill>
                  <a:srgbClr val="EC7700"/>
                </a:solidFill>
                <a:latin typeface="Arial"/>
                <a:cs typeface="Arial"/>
              </a:rPr>
              <a:t>Purchase Online:</a:t>
            </a:r>
            <a:r>
              <a:rPr lang="en-US" sz="1800" b="1">
                <a:solidFill>
                  <a:srgbClr val="ED7D31"/>
                </a:solidFill>
                <a:latin typeface="Arial"/>
                <a:cs typeface="Arial"/>
              </a:rPr>
              <a:t> 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Click 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Purchase 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to use a credit card or PayPal.</a:t>
            </a:r>
            <a:endParaRPr lang="en-US" sz="1800">
              <a:solidFill>
                <a:srgbClr val="333333"/>
              </a:solidFill>
              <a:latin typeface="Arial"/>
              <a:cs typeface="Arial"/>
            </a:endParaRPr>
          </a:p>
          <a:p>
            <a:pPr marL="342900" indent="-342900">
              <a:buAutoNum type="alphaUcPeriod"/>
            </a:pPr>
            <a:r>
              <a:rPr lang="en-US" sz="1800" b="1">
                <a:solidFill>
                  <a:srgbClr val="692146"/>
                </a:solidFill>
                <a:latin typeface="Arial"/>
                <a:cs typeface="Arial"/>
              </a:rPr>
              <a:t>Enter Code</a:t>
            </a:r>
            <a:r>
              <a:rPr lang="en-US" sz="1800" b="1">
                <a:solidFill>
                  <a:srgbClr val="7030A0"/>
                </a:solidFill>
                <a:latin typeface="Arial"/>
                <a:cs typeface="Arial"/>
              </a:rPr>
              <a:t>: 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Enter a Connect and Sharpen access code and click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 Redeem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.  </a:t>
            </a:r>
            <a:endParaRPr lang="en-US" sz="1800">
              <a:solidFill>
                <a:srgbClr val="333333"/>
              </a:solidFill>
              <a:latin typeface="Arial"/>
              <a:cs typeface="Arial"/>
            </a:endParaRPr>
          </a:p>
          <a:p>
            <a:pPr marL="342900" indent="-342900">
              <a:buAutoNum type="alphaUcPeriod"/>
            </a:pPr>
            <a:r>
              <a:rPr lang="en-US" sz="1800" b="1">
                <a:solidFill>
                  <a:srgbClr val="E21A23"/>
                </a:solidFill>
                <a:latin typeface="Arial"/>
                <a:cs typeface="Arial"/>
              </a:rPr>
              <a:t>Temporary Access: 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Click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 Access Now 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for two-week temporary access. Note this unlocks GO only and not Sharpen. </a:t>
            </a:r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FE44DD4-9BB3-D26A-A21C-8B0ADFBDD1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55732" y="4348842"/>
            <a:ext cx="2542723" cy="2079173"/>
          </a:xfrm>
          <a:prstGeom prst="rect">
            <a:avLst/>
          </a:prstGeom>
        </p:spPr>
      </p:pic>
      <p:pic>
        <p:nvPicPr>
          <p:cNvPr id="2" name="Picture 1" descr="Course access page screenshot showing the 3 registration options: purchase online, enter access code, or activate temporary access.">
            <a:extLst>
              <a:ext uri="{FF2B5EF4-FFF2-40B4-BE49-F238E27FC236}">
                <a16:creationId xmlns:a16="http://schemas.microsoft.com/office/drawing/2014/main" id="{222F1DA7-5553-AEF3-57CE-F2DA94A1DD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934" y="3973284"/>
            <a:ext cx="3762777" cy="2730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924353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E3EC32-5740-A1DF-C930-8D765448A1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CF809B-17AC-E124-B113-4147ACCEF3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41BBB5C-E571-4E7D-578F-9DA2090B0794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759388" y="1111623"/>
            <a:ext cx="3942773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4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EC77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: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32A0B03-97F2-3444-ACC9-89A797F47B0A}"/>
              </a:ext>
            </a:extLst>
          </p:cNvPr>
          <p:cNvSpPr txBox="1">
            <a:spLocks/>
          </p:cNvSpPr>
          <p:nvPr/>
        </p:nvSpPr>
        <p:spPr>
          <a:xfrm>
            <a:off x="6755934" y="1718796"/>
            <a:ext cx="4852666" cy="1969636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AutoNum type="alphaUcPeriod"/>
            </a:pPr>
            <a:r>
              <a:rPr lang="en-US" sz="1800" b="1">
                <a:solidFill>
                  <a:srgbClr val="EC7700"/>
                </a:solidFill>
                <a:latin typeface="Arial"/>
                <a:cs typeface="Arial"/>
              </a:rPr>
              <a:t>Purchase Online: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sz="1700">
                <a:solidFill>
                  <a:srgbClr val="000000"/>
                </a:solidFill>
                <a:latin typeface="Arial"/>
                <a:cs typeface="Arial"/>
              </a:rPr>
              <a:t>Click </a:t>
            </a:r>
            <a:r>
              <a:rPr lang="en-US" sz="1700" b="1">
                <a:solidFill>
                  <a:srgbClr val="000000"/>
                </a:solidFill>
                <a:latin typeface="Arial"/>
                <a:cs typeface="Arial"/>
              </a:rPr>
              <a:t>Purchase </a:t>
            </a:r>
            <a:r>
              <a:rPr lang="en-US" sz="1700">
                <a:solidFill>
                  <a:srgbClr val="000000"/>
                </a:solidFill>
                <a:latin typeface="Arial"/>
                <a:cs typeface="Arial"/>
              </a:rPr>
              <a:t>to use a credit card or PayPal. Enter your payment information and click "</a:t>
            </a:r>
            <a:r>
              <a:rPr lang="en-US" sz="1700" b="1">
                <a:solidFill>
                  <a:srgbClr val="000000"/>
                </a:solidFill>
                <a:latin typeface="Arial"/>
                <a:cs typeface="Arial"/>
              </a:rPr>
              <a:t>Place Order</a:t>
            </a:r>
            <a:r>
              <a:rPr lang="en-US" sz="1700">
                <a:solidFill>
                  <a:srgbClr val="000000"/>
                </a:solidFill>
                <a:latin typeface="Arial"/>
                <a:cs typeface="Arial"/>
              </a:rPr>
              <a:t>". A purchase confirmation screen will load.</a:t>
            </a:r>
          </a:p>
          <a:p>
            <a:pPr marL="0" indent="0">
              <a:buNone/>
            </a:pPr>
            <a:endParaRPr lang="en-US" sz="1700">
              <a:solidFill>
                <a:srgbClr val="000000"/>
              </a:solidFill>
            </a:endParaRPr>
          </a:p>
          <a:p>
            <a:pPr marL="0" indent="0">
              <a:buNone/>
            </a:pPr>
            <a:r>
              <a:rPr lang="en-US" sz="1700">
                <a:solidFill>
                  <a:srgbClr val="000000"/>
                </a:solidFill>
                <a:latin typeface="Arial"/>
                <a:cs typeface="Arial"/>
              </a:rPr>
              <a:t>Congratulations! You have successfully completed your GO and Sharpen Companion purchase.</a:t>
            </a: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</a:endParaRPr>
          </a:p>
          <a:p>
            <a:pPr>
              <a:spcAft>
                <a:spcPts val="900"/>
              </a:spcAft>
              <a:buAutoNum type="alphaUcPeriod"/>
            </a:pPr>
            <a:endParaRPr lang="en-US" sz="1800">
              <a:solidFill>
                <a:srgbClr val="333333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02C38E1-C5FB-E9ED-4E37-34FCE40718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3831" y="825499"/>
            <a:ext cx="3242984" cy="2866573"/>
          </a:xfrm>
          <a:prstGeom prst="rect">
            <a:avLst/>
          </a:prstGeom>
        </p:spPr>
      </p:pic>
      <p:pic>
        <p:nvPicPr>
          <p:cNvPr id="5" name="Picture 4" descr="Secure checkout page screenshot. ">
            <a:extLst>
              <a:ext uri="{FF2B5EF4-FFF2-40B4-BE49-F238E27FC236}">
                <a16:creationId xmlns:a16="http://schemas.microsoft.com/office/drawing/2014/main" id="{D359442D-CE1A-9314-45D3-69E032E4F0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8131" y="819508"/>
            <a:ext cx="3927551" cy="286109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0292B59-55A5-AD29-98D4-59CBFE5C8C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09455" y="3891069"/>
            <a:ext cx="5091546" cy="2701133"/>
          </a:xfrm>
          <a:prstGeom prst="rect">
            <a:avLst/>
          </a:prstGeom>
        </p:spPr>
      </p:pic>
      <p:pic>
        <p:nvPicPr>
          <p:cNvPr id="7" name="Picture 6" descr="Post-purchase confirmation page screenshot.">
            <a:extLst>
              <a:ext uri="{FF2B5EF4-FFF2-40B4-BE49-F238E27FC236}">
                <a16:creationId xmlns:a16="http://schemas.microsoft.com/office/drawing/2014/main" id="{0399EC1B-C014-D873-0E4F-DA272B81C99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05847" y="3897600"/>
            <a:ext cx="5075671" cy="2699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0754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72EF54-706F-46BA-00E4-1E06EE345B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3E9719-100E-CACA-3121-8FE1519FC7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EE70F00-D19A-4BA1-50FF-EA3660520AF0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759388" y="1111623"/>
            <a:ext cx="3942773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4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49000"/>
                  </a:schemeClr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B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-4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C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: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7874784-0BC5-4E1B-639E-D66B8524D19B}"/>
              </a:ext>
            </a:extLst>
          </p:cNvPr>
          <p:cNvSpPr txBox="1">
            <a:spLocks/>
          </p:cNvSpPr>
          <p:nvPr/>
        </p:nvSpPr>
        <p:spPr>
          <a:xfrm>
            <a:off x="6755934" y="1718796"/>
            <a:ext cx="4752881" cy="338477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b="1">
                <a:solidFill>
                  <a:srgbClr val="692146"/>
                </a:solidFill>
                <a:latin typeface="Arial"/>
                <a:cs typeface="Arial"/>
              </a:rPr>
              <a:t>B. Enter Code</a:t>
            </a:r>
            <a:r>
              <a:rPr lang="en-US" sz="1800" b="1">
                <a:solidFill>
                  <a:srgbClr val="7030A0"/>
                </a:solidFill>
                <a:latin typeface="Arial"/>
                <a:cs typeface="Arial"/>
              </a:rPr>
              <a:t>: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 The Access Code Confirmation Screen appears. Click 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Confirm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.</a:t>
            </a:r>
            <a:endParaRPr lang="en-US" sz="1800">
              <a:solidFill>
                <a:srgbClr val="333333"/>
              </a:solidFill>
              <a:latin typeface="Arial"/>
              <a:cs typeface="Arial"/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1800" b="1">
                <a:solidFill>
                  <a:srgbClr val="E21A23"/>
                </a:solidFill>
                <a:latin typeface="Arial"/>
                <a:cs typeface="Arial"/>
              </a:rPr>
              <a:t>C. Temporary Access: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 The Digital access confirmation screen appears. On the next screen, click 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Confirm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.</a:t>
            </a:r>
            <a:endParaRPr lang="en-US"/>
          </a:p>
          <a:p>
            <a:pPr>
              <a:spcAft>
                <a:spcPts val="900"/>
              </a:spcAft>
              <a:buAutoNum type="arabicPeriod"/>
            </a:pPr>
            <a:endParaRPr lang="en-US" sz="1800">
              <a:solidFill>
                <a:srgbClr val="333333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E14D12C-CCDB-CC7A-E623-F128FE4194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83625" y="4367537"/>
            <a:ext cx="4053862" cy="2122177"/>
          </a:xfrm>
          <a:prstGeom prst="rect">
            <a:avLst/>
          </a:prstGeom>
        </p:spPr>
      </p:pic>
      <p:pic>
        <p:nvPicPr>
          <p:cNvPr id="11" name="Picture 6">
            <a:extLst>
              <a:ext uri="{FF2B5EF4-FFF2-40B4-BE49-F238E27FC236}">
                <a16:creationId xmlns:a16="http://schemas.microsoft.com/office/drawing/2014/main" id="{93090938-B3EE-D725-17A3-E725DE178E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6853" y="1363589"/>
            <a:ext cx="4999657" cy="1994024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A66B3254-28CA-A68A-DF9A-A26F3A42CD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3180974" y="2299030"/>
            <a:ext cx="1766207" cy="200055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700" b="1">
                <a:ea typeface="Calibri"/>
                <a:cs typeface="Calibri"/>
              </a:rPr>
              <a:t>Intro to Sociology: GO with Sharpen</a:t>
            </a:r>
          </a:p>
        </p:txBody>
      </p:sp>
      <p:pic>
        <p:nvPicPr>
          <p:cNvPr id="2" name="Picture 1" descr="Temporary access confirmation page screenshot.">
            <a:extLst>
              <a:ext uri="{FF2B5EF4-FFF2-40B4-BE49-F238E27FC236}">
                <a16:creationId xmlns:a16="http://schemas.microsoft.com/office/drawing/2014/main" id="{9C32004A-DE64-45CC-BF82-D045A9F87FC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05222" y="4286224"/>
            <a:ext cx="5416365" cy="227591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B530078-0498-657F-C811-6F5EC75E5D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9143" y="1297667"/>
            <a:ext cx="5297715" cy="2203451"/>
          </a:xfrm>
          <a:prstGeom prst="rect">
            <a:avLst/>
          </a:prstGeom>
        </p:spPr>
      </p:pic>
      <p:pic>
        <p:nvPicPr>
          <p:cNvPr id="8" name="Picture 7" descr="Access code confirmation page screenshot.">
            <a:extLst>
              <a:ext uri="{FF2B5EF4-FFF2-40B4-BE49-F238E27FC236}">
                <a16:creationId xmlns:a16="http://schemas.microsoft.com/office/drawing/2014/main" id="{95F128A1-6FC1-F9F8-4E66-4EEDDEA01505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386" r="190" b="10811"/>
          <a:stretch/>
        </p:blipFill>
        <p:spPr>
          <a:xfrm>
            <a:off x="399386" y="1227366"/>
            <a:ext cx="5297213" cy="2331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665438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7A4557-E113-EA49-4C66-E3BF2F194C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B06417-56DA-4A52-045E-917A1325F3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B0684EB-98D0-F655-3DF4-94179EFFCB3C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7109496" y="1121920"/>
            <a:ext cx="2038509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5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EC7700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  <a:t>A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: 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9BFFDB2-83CE-5FB1-2A55-EB16298CAB0D}"/>
              </a:ext>
            </a:extLst>
          </p:cNvPr>
          <p:cNvSpPr txBox="1">
            <a:spLocks/>
          </p:cNvSpPr>
          <p:nvPr/>
        </p:nvSpPr>
        <p:spPr>
          <a:xfrm>
            <a:off x="7106042" y="1718796"/>
            <a:ext cx="4752881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AutoNum type="alphaUcPeriod"/>
            </a:pPr>
            <a:r>
              <a:rPr lang="en-US" sz="1700" b="1">
                <a:solidFill>
                  <a:srgbClr val="EC7700"/>
                </a:solidFill>
                <a:latin typeface="Arial"/>
                <a:cs typeface="Arial"/>
              </a:rPr>
              <a:t>Purchase Online:</a:t>
            </a:r>
            <a:r>
              <a:rPr lang="en-US" sz="1700" b="1">
                <a:solidFill>
                  <a:srgbClr val="ED7D31"/>
                </a:solidFill>
                <a:latin typeface="Arial"/>
                <a:cs typeface="Arial"/>
              </a:rPr>
              <a:t> </a:t>
            </a:r>
            <a:r>
              <a:rPr lang="en-US" sz="1700">
                <a:solidFill>
                  <a:srgbClr val="000000"/>
                </a:solidFill>
                <a:latin typeface="Arial"/>
                <a:cs typeface="Arial"/>
              </a:rPr>
              <a:t>On the purchase confirmation page, click </a:t>
            </a:r>
            <a:r>
              <a:rPr lang="en-US" sz="1700" b="1">
                <a:solidFill>
                  <a:srgbClr val="000000"/>
                </a:solidFill>
                <a:latin typeface="Arial"/>
                <a:cs typeface="Arial"/>
              </a:rPr>
              <a:t>Access Now</a:t>
            </a:r>
            <a:r>
              <a:rPr lang="en-US" sz="1700">
                <a:solidFill>
                  <a:srgbClr val="000000"/>
                </a:solidFill>
                <a:latin typeface="Arial"/>
                <a:cs typeface="Arial"/>
              </a:rPr>
              <a:t>. </a:t>
            </a:r>
          </a:p>
          <a:p>
            <a:pPr marL="0" indent="0">
              <a:buNone/>
            </a:pPr>
            <a:endParaRPr lang="en-US" sz="1800" b="1" i="1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endParaRPr lang="en-US" sz="1800" b="1" i="1">
              <a:solidFill>
                <a:srgbClr val="000000"/>
              </a:solidFill>
            </a:endParaRPr>
          </a:p>
          <a:p>
            <a:pPr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Congratulations! You have successfully joined your course.</a:t>
            </a:r>
          </a:p>
          <a:p>
            <a:pPr marL="0" indent="0">
              <a:buNone/>
            </a:pPr>
            <a:endParaRPr lang="en-US" sz="1800" b="1" i="1">
              <a:solidFill>
                <a:srgbClr val="333333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</a:endParaRPr>
          </a:p>
          <a:p>
            <a:pPr>
              <a:spcAft>
                <a:spcPts val="900"/>
              </a:spcAft>
            </a:pPr>
            <a:endParaRPr lang="en-US" sz="1800">
              <a:latin typeface="Arial"/>
              <a:cs typeface="Arial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38B44C2-A3A5-95B0-8371-88FE0DF311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7182" y="1570433"/>
            <a:ext cx="6223001" cy="3324588"/>
          </a:xfrm>
          <a:prstGeom prst="rect">
            <a:avLst/>
          </a:prstGeom>
        </p:spPr>
      </p:pic>
      <p:pic>
        <p:nvPicPr>
          <p:cNvPr id="6" name="Picture 5" descr="Screenshot of post-purchase confirmation page highlighting the &quot;Complete Registration&quot; button.">
            <a:extLst>
              <a:ext uri="{FF2B5EF4-FFF2-40B4-BE49-F238E27FC236}">
                <a16:creationId xmlns:a16="http://schemas.microsoft.com/office/drawing/2014/main" id="{6950EDA0-80DB-E39B-461E-496863E6435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3574" y="1565418"/>
            <a:ext cx="6264852" cy="3346161"/>
          </a:xfrm>
          <a:prstGeom prst="rect">
            <a:avLst/>
          </a:prstGeom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B1881D4-93DB-78EC-A3CE-B9DD463ED4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477823" y="4308422"/>
            <a:ext cx="768867" cy="400718"/>
          </a:xfrm>
          <a:prstGeom prst="round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6653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3">
            <a:extLst>
              <a:ext uri="{FF2B5EF4-FFF2-40B4-BE49-F238E27FC236}">
                <a16:creationId xmlns:a16="http://schemas.microsoft.com/office/drawing/2014/main" id="{478F6DCE-DF72-5F0A-0F94-2CF017928A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2983" y="1605014"/>
            <a:ext cx="4831300" cy="1420574"/>
          </a:xfrm>
        </p:spPr>
        <p:txBody>
          <a:bodyPr>
            <a:normAutofit/>
          </a:bodyPr>
          <a:lstStyle/>
          <a:p>
            <a:r>
              <a:rPr lang="en-US" dirty="0"/>
              <a:t>McGraw Hill GO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55432091-86BF-0D6D-1795-15930B74F30B}"/>
              </a:ext>
            </a:extLst>
          </p:cNvPr>
          <p:cNvSpPr txBox="1">
            <a:spLocks/>
          </p:cNvSpPr>
          <p:nvPr/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tudent Registration</a:t>
            </a: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6DEE01A0-A94F-887A-285B-74955E4FCCD3}"/>
              </a:ext>
            </a:extLst>
          </p:cNvPr>
          <p:cNvSpPr txBox="1">
            <a:spLocks/>
          </p:cNvSpPr>
          <p:nvPr/>
        </p:nvSpPr>
        <p:spPr>
          <a:xfrm>
            <a:off x="1208087" y="4122407"/>
            <a:ext cx="4887913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2L Brightspace with Regular Integration</a:t>
            </a:r>
          </a:p>
        </p:txBody>
      </p:sp>
    </p:spTree>
    <p:extLst>
      <p:ext uri="{BB962C8B-B14F-4D97-AF65-F5344CB8AC3E}">
        <p14:creationId xmlns:p14="http://schemas.microsoft.com/office/powerpoint/2010/main" val="273216623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6C0893F-D53C-B732-95E9-8F1B54EA1C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408F0C6-920D-FFAF-32E6-F5AC6116C4EB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759388" y="1111623"/>
            <a:ext cx="2492080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5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49000"/>
                  </a:schemeClr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B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-5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C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7E6BDACE-3C95-DBBB-5431-9DD0077E9F93}"/>
              </a:ext>
            </a:extLst>
          </p:cNvPr>
          <p:cNvSpPr txBox="1">
            <a:spLocks/>
          </p:cNvSpPr>
          <p:nvPr/>
        </p:nvSpPr>
        <p:spPr>
          <a:xfrm>
            <a:off x="6755934" y="1575055"/>
            <a:ext cx="4332828" cy="436490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900"/>
              </a:spcAft>
              <a:buNone/>
            </a:pPr>
            <a:r>
              <a:rPr lang="en-US" sz="1800" b="1">
                <a:solidFill>
                  <a:srgbClr val="692146"/>
                </a:solidFill>
                <a:latin typeface="Arial"/>
                <a:cs typeface="Arial"/>
              </a:rPr>
              <a:t>B. Enter Code</a:t>
            </a:r>
            <a:r>
              <a:rPr lang="en-US" sz="1800" b="1">
                <a:solidFill>
                  <a:srgbClr val="7030A0"/>
                </a:solidFill>
                <a:latin typeface="Arial"/>
                <a:cs typeface="Arial"/>
              </a:rPr>
              <a:t>:</a:t>
            </a:r>
            <a:r>
              <a:rPr lang="en-US" sz="1800">
                <a:solidFill>
                  <a:srgbClr val="333333"/>
                </a:solidFill>
                <a:latin typeface="Arial"/>
                <a:cs typeface="Arial"/>
              </a:rPr>
              <a:t> Click </a:t>
            </a:r>
            <a:r>
              <a:rPr lang="en-US" sz="1800" b="1">
                <a:solidFill>
                  <a:srgbClr val="333333"/>
                </a:solidFill>
                <a:latin typeface="Arial"/>
                <a:cs typeface="Arial"/>
              </a:rPr>
              <a:t>Complete Registration</a:t>
            </a:r>
            <a:r>
              <a:rPr lang="en-US" sz="1800">
                <a:solidFill>
                  <a:srgbClr val="333333"/>
                </a:solidFill>
                <a:latin typeface="Arial"/>
                <a:cs typeface="Arial"/>
              </a:rPr>
              <a:t>. That's it- now you can access your first McGraw Hill GO assignment!</a:t>
            </a: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spcAft>
                <a:spcPts val="900"/>
              </a:spcAft>
              <a:buNone/>
            </a:pPr>
            <a:endParaRPr lang="en-US" sz="1800">
              <a:solidFill>
                <a:srgbClr val="333333"/>
              </a:solidFill>
              <a:latin typeface="Arial"/>
              <a:cs typeface="Arial"/>
            </a:endParaRPr>
          </a:p>
          <a:p>
            <a:pPr marL="0" indent="0">
              <a:spcAft>
                <a:spcPts val="900"/>
              </a:spcAft>
              <a:buNone/>
            </a:pPr>
            <a:r>
              <a:rPr lang="en-US" sz="1800" b="1">
                <a:solidFill>
                  <a:srgbClr val="E21A23"/>
                </a:solidFill>
                <a:latin typeface="Arial"/>
                <a:cs typeface="Arial"/>
              </a:rPr>
              <a:t>C. Temporary Access: </a:t>
            </a:r>
            <a:r>
              <a:rPr lang="en-US" sz="1800">
                <a:latin typeface="Arial"/>
                <a:cs typeface="Arial"/>
              </a:rPr>
              <a:t>Select </a:t>
            </a:r>
            <a:r>
              <a:rPr lang="en-US" sz="1800" b="1">
                <a:latin typeface="Arial"/>
                <a:cs typeface="Arial"/>
              </a:rPr>
              <a:t>Complete Registration</a:t>
            </a:r>
            <a:r>
              <a:rPr lang="en-US" sz="1800">
                <a:latin typeface="Arial"/>
                <a:cs typeface="Arial"/>
              </a:rPr>
              <a:t> and then you can access your first McGraw Hill GO assignment!</a:t>
            </a:r>
            <a:endParaRPr lang="en-US">
              <a:latin typeface="Arial"/>
              <a:cs typeface="Arial"/>
            </a:endParaRPr>
          </a:p>
          <a:p>
            <a:pPr marL="0" indent="0">
              <a:spcAft>
                <a:spcPts val="900"/>
              </a:spcAft>
              <a:buNone/>
            </a:pPr>
            <a:endParaRPr lang="en-US" sz="1800">
              <a:latin typeface="Arial"/>
              <a:cs typeface="Arial"/>
            </a:endParaRPr>
          </a:p>
          <a:p>
            <a:pPr marL="0" indent="0">
              <a:spcAft>
                <a:spcPts val="900"/>
              </a:spcAft>
              <a:buNone/>
            </a:pPr>
            <a:r>
              <a:rPr lang="en-US" sz="1800" b="1">
                <a:latin typeface="Arial"/>
                <a:cs typeface="Arial"/>
              </a:rPr>
              <a:t>Reminder</a:t>
            </a:r>
            <a:r>
              <a:rPr lang="en-US" sz="1800">
                <a:latin typeface="Arial"/>
                <a:cs typeface="Arial"/>
              </a:rPr>
              <a:t>: if you used Temporary Access, this applies only to GO and not Sharpen. </a:t>
            </a:r>
          </a:p>
        </p:txBody>
      </p:sp>
      <p:pic>
        <p:nvPicPr>
          <p:cNvPr id="25" name="Picture 24" descr="Screenshot highlighting the Complete Registration button users must click on to join the course.">
            <a:extLst>
              <a:ext uri="{FF2B5EF4-FFF2-40B4-BE49-F238E27FC236}">
                <a16:creationId xmlns:a16="http://schemas.microsoft.com/office/drawing/2014/main" id="{A200D20D-C743-E568-7D24-82930C521F9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3040" b="-307"/>
          <a:stretch/>
        </p:blipFill>
        <p:spPr>
          <a:xfrm>
            <a:off x="177241" y="1052898"/>
            <a:ext cx="6091445" cy="2380982"/>
          </a:xfrm>
          <a:prstGeom prst="rect">
            <a:avLst/>
          </a:prstGeom>
        </p:spPr>
      </p:pic>
      <p:grpSp>
        <p:nvGrpSpPr>
          <p:cNvPr id="20" name="Group 19" descr="Screenshot highlighting the Complete Registration button users must click on to join the course.">
            <a:extLst>
              <a:ext uri="{FF2B5EF4-FFF2-40B4-BE49-F238E27FC236}">
                <a16:creationId xmlns:a16="http://schemas.microsoft.com/office/drawing/2014/main" id="{FAFF1D0E-DA86-CB30-7AB3-FC792EA8B5CB}"/>
              </a:ext>
            </a:extLst>
          </p:cNvPr>
          <p:cNvGrpSpPr/>
          <p:nvPr/>
        </p:nvGrpSpPr>
        <p:grpSpPr>
          <a:xfrm>
            <a:off x="1127850" y="3736373"/>
            <a:ext cx="5393952" cy="2371166"/>
            <a:chOff x="132510" y="2305049"/>
            <a:chExt cx="5393952" cy="2371166"/>
          </a:xfrm>
        </p:grpSpPr>
        <p:pic>
          <p:nvPicPr>
            <p:cNvPr id="5" name="Picture 4" descr="A screen shot of a course information&#10;&#10;AI-generated content may be incorrect.">
              <a:extLst>
                <a:ext uri="{FF2B5EF4-FFF2-40B4-BE49-F238E27FC236}">
                  <a16:creationId xmlns:a16="http://schemas.microsoft.com/office/drawing/2014/main" id="{AD5602A5-0F0E-391E-52EF-2E99BB39182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32510" y="2305049"/>
              <a:ext cx="5393952" cy="2371166"/>
            </a:xfrm>
            <a:prstGeom prst="rect">
              <a:avLst/>
            </a:prstGeom>
          </p:spPr>
        </p:pic>
        <p:pic>
          <p:nvPicPr>
            <p:cNvPr id="6" name="Picture 6" descr="A close-up of a course information&#10;&#10;Description automatically generated">
              <a:extLst>
                <a:ext uri="{FF2B5EF4-FFF2-40B4-BE49-F238E27FC236}">
                  <a16:creationId xmlns:a16="http://schemas.microsoft.com/office/drawing/2014/main" id="{F85E73BD-A952-273E-DA44-E0A48E22356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 l="855" t="51852" r="49930" b="30159"/>
            <a:stretch/>
          </p:blipFill>
          <p:spPr>
            <a:xfrm>
              <a:off x="288330" y="3898820"/>
              <a:ext cx="2580900" cy="381017"/>
            </a:xfrm>
            <a:prstGeom prst="rect">
              <a:avLst/>
            </a:prstGeom>
          </p:spPr>
        </p:pic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38B63569-B9C2-30DB-FAA4-C73C27D3918B}"/>
                </a:ext>
              </a:extLst>
            </p:cNvPr>
            <p:cNvSpPr/>
            <p:nvPr/>
          </p:nvSpPr>
          <p:spPr>
            <a:xfrm>
              <a:off x="241614" y="3800087"/>
              <a:ext cx="1405962" cy="440169"/>
            </a:xfrm>
            <a:prstGeom prst="roundRect">
              <a:avLst/>
            </a:prstGeom>
            <a:noFill/>
            <a:ln w="57150">
              <a:solidFill>
                <a:srgbClr val="FFC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2" name="Picture 6">
            <a:extLst>
              <a:ext uri="{FF2B5EF4-FFF2-40B4-BE49-F238E27FC236}">
                <a16:creationId xmlns:a16="http://schemas.microsoft.com/office/drawing/2014/main" id="{3CD618C7-4F9B-41F4-CB17-06151E5DFA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-204" t="51754" r="73158" b="32012"/>
          <a:stretch/>
        </p:blipFill>
        <p:spPr>
          <a:xfrm>
            <a:off x="419715" y="2589003"/>
            <a:ext cx="1418360" cy="381014"/>
          </a:xfrm>
          <a:prstGeom prst="rect">
            <a:avLst/>
          </a:prstGeom>
        </p:spPr>
      </p:pic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79C1C9DB-B40C-A940-DFFD-C263421590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24906" y="2490270"/>
            <a:ext cx="1405962" cy="481358"/>
          </a:xfrm>
          <a:prstGeom prst="round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628866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70BE71-D6EB-89F5-B33D-904F9B6D03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407952-1E53-F2A7-0BF3-691BEEB2D8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0B88AF4-908A-7B52-7530-E5EF6411D345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7109496" y="1121920"/>
            <a:ext cx="2038509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6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C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: 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CD58469-1507-9A77-6A23-D13F7BA0B53C}"/>
              </a:ext>
            </a:extLst>
          </p:cNvPr>
          <p:cNvSpPr txBox="1">
            <a:spLocks/>
          </p:cNvSpPr>
          <p:nvPr/>
        </p:nvSpPr>
        <p:spPr>
          <a:xfrm>
            <a:off x="7106042" y="1718796"/>
            <a:ext cx="4752881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en-US" sz="1800" b="1">
                <a:solidFill>
                  <a:srgbClr val="E21A23"/>
                </a:solidFill>
                <a:latin typeface="Arial"/>
                <a:cs typeface="Arial"/>
              </a:rPr>
              <a:t>C. Temporary Access</a:t>
            </a: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</a:endParaRPr>
          </a:p>
          <a:p>
            <a:pPr marL="0" indent="0"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When your two-week Temporary Access Expires, you will be directed to the Course Access Page to redeem the GO and Sharpen Companion access code or purchase GO and Sharpen Companion. </a:t>
            </a:r>
            <a:endParaRPr lang="en-US" sz="1800">
              <a:solidFill>
                <a:srgbClr val="000000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</a:endParaRPr>
          </a:p>
          <a:p>
            <a:pPr>
              <a:spcAft>
                <a:spcPts val="900"/>
              </a:spcAft>
            </a:pPr>
            <a:endParaRPr lang="en-US" sz="1800">
              <a:latin typeface="Arial"/>
              <a:cs typeface="Arial"/>
            </a:endParaRPr>
          </a:p>
        </p:txBody>
      </p:sp>
      <p:pic>
        <p:nvPicPr>
          <p:cNvPr id="16" name="Picture 15" descr="Screenshot prompting student to get full access to GO. ">
            <a:extLst>
              <a:ext uri="{FF2B5EF4-FFF2-40B4-BE49-F238E27FC236}">
                <a16:creationId xmlns:a16="http://schemas.microsoft.com/office/drawing/2014/main" id="{41B1DF36-BB0B-CAA7-868A-18D7ADEF87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9818" y="1001382"/>
            <a:ext cx="5715000" cy="1830327"/>
          </a:xfrm>
          <a:prstGeom prst="rect">
            <a:avLst/>
          </a:prstGeom>
        </p:spPr>
      </p:pic>
      <p:grpSp>
        <p:nvGrpSpPr>
          <p:cNvPr id="15" name="Group 14" descr="Course Access page screenshot showing the Access Code and Purchase flows a user will see after using their Temporary Access.">
            <a:extLst>
              <a:ext uri="{FF2B5EF4-FFF2-40B4-BE49-F238E27FC236}">
                <a16:creationId xmlns:a16="http://schemas.microsoft.com/office/drawing/2014/main" id="{37D6F988-E7FD-2000-A671-B4D5530BAD1C}"/>
              </a:ext>
            </a:extLst>
          </p:cNvPr>
          <p:cNvGrpSpPr/>
          <p:nvPr/>
        </p:nvGrpSpPr>
        <p:grpSpPr>
          <a:xfrm>
            <a:off x="2321570" y="3303647"/>
            <a:ext cx="4363141" cy="3238503"/>
            <a:chOff x="6096934" y="59375"/>
            <a:chExt cx="9131413" cy="6575139"/>
          </a:xfrm>
        </p:grpSpPr>
        <p:pic>
          <p:nvPicPr>
            <p:cNvPr id="12" name="Picture 11" descr="A screenshot of a web page&#10;&#10;AI-generated content may be incorrect.">
              <a:extLst>
                <a:ext uri="{FF2B5EF4-FFF2-40B4-BE49-F238E27FC236}">
                  <a16:creationId xmlns:a16="http://schemas.microsoft.com/office/drawing/2014/main" id="{7047F0D3-2808-9628-6D23-9EA63AA9EB8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096934" y="59375"/>
              <a:ext cx="9131413" cy="6575139"/>
            </a:xfrm>
            <a:prstGeom prst="rect">
              <a:avLst/>
            </a:prstGeom>
          </p:spPr>
        </p:pic>
        <p:pic>
          <p:nvPicPr>
            <p:cNvPr id="14" name="Picture 13" descr="A screenshot of a computer&#10;&#10;AI-generated content may be incorrect.">
              <a:extLst>
                <a:ext uri="{FF2B5EF4-FFF2-40B4-BE49-F238E27FC236}">
                  <a16:creationId xmlns:a16="http://schemas.microsoft.com/office/drawing/2014/main" id="{0FB0C7AC-5F49-B7AA-5B0F-B9DC4795EDA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 l="3909" t="56260" r="69598" b="7924"/>
            <a:stretch/>
          </p:blipFill>
          <p:spPr>
            <a:xfrm>
              <a:off x="6222767" y="3652158"/>
              <a:ext cx="2863605" cy="272979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5595054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3053C7-4288-F227-1F5A-6396310ED9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9A55F64-CB41-CCCB-C2DD-F291C1E527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12465D0-593D-DE3E-1AB8-51E323DCD14B}"/>
              </a:ext>
            </a:extLst>
          </p:cNvPr>
          <p:cNvSpPr txBox="1">
            <a:spLocks/>
          </p:cNvSpPr>
          <p:nvPr/>
        </p:nvSpPr>
        <p:spPr>
          <a:xfrm>
            <a:off x="98651" y="2662133"/>
            <a:ext cx="3661086" cy="1420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>
                <a:latin typeface="Arial"/>
                <a:cs typeface="Arial"/>
              </a:rPr>
              <a:t>Getting Started with McGraw Hill GO</a:t>
            </a:r>
            <a:r>
              <a:rPr lang="en-US" baseline="30000">
                <a:latin typeface="Arial"/>
                <a:cs typeface="Arial"/>
              </a:rPr>
              <a:t>®</a:t>
            </a:r>
            <a:r>
              <a:rPr lang="en-US">
                <a:latin typeface="Arial"/>
                <a:cs typeface="Arial"/>
              </a:rPr>
              <a:t> </a:t>
            </a:r>
            <a:r>
              <a:rPr lang="en-US">
                <a:solidFill>
                  <a:schemeClr val="accent4">
                    <a:lumMod val="75000"/>
                  </a:schemeClr>
                </a:solidFill>
                <a:latin typeface="Arial"/>
                <a:cs typeface="Arial"/>
              </a:rPr>
              <a:t>and Sharpen</a:t>
            </a:r>
            <a:endParaRPr lang="en-US" baseline="30000">
              <a:solidFill>
                <a:schemeClr val="accent4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82E217B-A963-9A05-D98F-E91CECEF8C5B}"/>
              </a:ext>
            </a:extLst>
          </p:cNvPr>
          <p:cNvSpPr txBox="1">
            <a:spLocks/>
          </p:cNvSpPr>
          <p:nvPr/>
        </p:nvSpPr>
        <p:spPr>
          <a:xfrm>
            <a:off x="101373" y="4090759"/>
            <a:ext cx="3572059" cy="67862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What to Know on Your</a:t>
            </a:r>
            <a:br>
              <a:rPr lang="en-US"/>
            </a:br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First Day of Clas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3EB5167-81B5-BB33-AF53-061009336736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427538" y="1714500"/>
            <a:ext cx="7081837" cy="44513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harpen Companion Log-In Flow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O: IA and non-IA</a:t>
            </a: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562F61E-8815-DAF9-A67A-293E3DA5EC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0242" t="13604" b="239"/>
          <a:stretch/>
        </p:blipFill>
        <p:spPr>
          <a:xfrm>
            <a:off x="3884263" y="2927758"/>
            <a:ext cx="4832785" cy="3920799"/>
          </a:xfrm>
          <a:prstGeom prst="rect">
            <a:avLst/>
          </a:prstGeom>
        </p:spPr>
      </p:pic>
      <p:pic>
        <p:nvPicPr>
          <p:cNvPr id="18" name="Picture 17" descr="Sharpen on a computer screen and a mobile phone.">
            <a:extLst>
              <a:ext uri="{FF2B5EF4-FFF2-40B4-BE49-F238E27FC236}">
                <a16:creationId xmlns:a16="http://schemas.microsoft.com/office/drawing/2014/main" id="{C13FE3B2-DAEA-92A9-D36E-8C851A6C25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25131" y="2393001"/>
            <a:ext cx="2585732" cy="2075316"/>
          </a:xfrm>
          <a:prstGeom prst="rect">
            <a:avLst/>
          </a:prstGeom>
        </p:spPr>
      </p:pic>
      <p:grpSp>
        <p:nvGrpSpPr>
          <p:cNvPr id="14" name="Group 13" descr="GO on a computer screen.">
            <a:extLst>
              <a:ext uri="{FF2B5EF4-FFF2-40B4-BE49-F238E27FC236}">
                <a16:creationId xmlns:a16="http://schemas.microsoft.com/office/drawing/2014/main" id="{5DE9C0D9-0E68-5B32-F745-DA78DB67CCBF}"/>
              </a:ext>
            </a:extLst>
          </p:cNvPr>
          <p:cNvGrpSpPr/>
          <p:nvPr/>
        </p:nvGrpSpPr>
        <p:grpSpPr>
          <a:xfrm>
            <a:off x="8122056" y="4559377"/>
            <a:ext cx="2394665" cy="2067145"/>
            <a:chOff x="2661057" y="4201464"/>
            <a:chExt cx="2937302" cy="2401962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34303D7C-4750-8422-E0FE-54220FC145D4}"/>
                </a:ext>
              </a:extLst>
            </p:cNvPr>
            <p:cNvGrpSpPr/>
            <p:nvPr/>
          </p:nvGrpSpPr>
          <p:grpSpPr>
            <a:xfrm>
              <a:off x="2661057" y="4201464"/>
              <a:ext cx="2937302" cy="2401962"/>
              <a:chOff x="-3150430" y="816996"/>
              <a:chExt cx="2937302" cy="2401962"/>
            </a:xfrm>
          </p:grpSpPr>
          <p:pic>
            <p:nvPicPr>
              <p:cNvPr id="11" name="Picture 10" descr="Course with McGraw Hill Connect ...">
                <a:extLst>
                  <a:ext uri="{FF2B5EF4-FFF2-40B4-BE49-F238E27FC236}">
                    <a16:creationId xmlns:a16="http://schemas.microsoft.com/office/drawing/2014/main" id="{3F5CC51C-E329-FA07-8F1F-4B25FB0D619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-2975189" y="1058723"/>
                <a:ext cx="2596243" cy="1298121"/>
              </a:xfrm>
              <a:prstGeom prst="rect">
                <a:avLst/>
              </a:prstGeom>
            </p:spPr>
          </p:pic>
          <p:pic>
            <p:nvPicPr>
              <p:cNvPr id="13" name="Picture 2" descr="Mac Icon png download - 1153*945 - Free Transparent Macbook Pro png  Download. - CleanPNG / KissPNG">
                <a:extLst>
                  <a:ext uri="{FF2B5EF4-FFF2-40B4-BE49-F238E27FC236}">
                    <a16:creationId xmlns:a16="http://schemas.microsoft.com/office/drawing/2014/main" id="{7E63BADF-2609-8745-5C82-66C6D8BC582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 cstate="print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ackgroundRemoval t="2568" b="96216" l="1000" r="99667">
                            <a14:foregroundMark x1="1000" y1="6351" x2="1000" y2="6351"/>
                            <a14:foregroundMark x1="3333" y1="4459" x2="13889" y2="3378"/>
                            <a14:foregroundMark x1="13889" y1="3378" x2="14111" y2="3243"/>
                            <a14:foregroundMark x1="65889" y1="3243" x2="78667" y2="3378"/>
                            <a14:foregroundMark x1="97222" y1="3649" x2="98222" y2="6757"/>
                            <a14:foregroundMark x1="83444" y1="71216" x2="90111" y2="72027"/>
                            <a14:foregroundMark x1="61111" y1="75946" x2="73889" y2="76216"/>
                            <a14:foregroundMark x1="46333" y1="77838" x2="57889" y2="78378"/>
                            <a14:foregroundMark x1="10111" y1="71892" x2="76444" y2="80676"/>
                            <a14:foregroundMark x1="76444" y1="80676" x2="90778" y2="79054"/>
                            <a14:foregroundMark x1="3889" y1="4730" x2="1222" y2="30000"/>
                            <a14:foregroundMark x1="26222" y1="3243" x2="60111" y2="2568"/>
                            <a14:foregroundMark x1="96556" y1="6892" x2="99667" y2="48784"/>
                            <a14:foregroundMark x1="99667" y1="48784" x2="97222" y2="70811"/>
                            <a14:foregroundMark x1="83778" y1="71622" x2="61111" y2="72703"/>
                            <a14:foregroundMark x1="3667" y1="70270" x2="29222" y2="73108"/>
                            <a14:foregroundMark x1="29222" y1="73108" x2="66444" y2="71622"/>
                            <a14:foregroundMark x1="1889" y1="77973" x2="20667" y2="77568"/>
                            <a14:foregroundMark x1="2000" y1="41486" x2="3667" y2="48784"/>
                            <a14:foregroundMark x1="2000" y1="29730" x2="2667" y2="70541"/>
                            <a14:foregroundMark x1="18333" y1="3243" x2="26111" y2="3378"/>
                            <a14:foregroundMark x1="48000" y1="87027" x2="54111" y2="86351"/>
                            <a14:foregroundMark x1="43111" y1="86081" x2="51556" y2="95811"/>
                            <a14:foregroundMark x1="51556" y1="95811" x2="56889" y2="96216"/>
                            <a14:foregroundMark x1="96556" y1="79054" x2="96556" y2="79054"/>
                            <a14:foregroundMark x1="94889" y1="77432" x2="95556" y2="80405"/>
                            <a14:foregroundMark x1="66667" y1="83919" x2="83222" y2="84189"/>
                            <a14:foregroundMark x1="83222" y1="84189" x2="98333" y2="82973"/>
                            <a14:foregroundMark x1="98333" y1="82973" x2="99556" y2="74865"/>
                            <a14:foregroundMark x1="99556" y1="74865" x2="90556" y2="73514"/>
                            <a14:foregroundMark x1="90556" y1="73514" x2="71333" y2="79459"/>
                            <a14:foregroundMark x1="71333" y1="79459" x2="66778" y2="83243"/>
                            <a14:backgroundMark x1="13556" y1="11486" x2="14778" y2="18378"/>
                            <a14:backgroundMark x1="14778" y1="18378" x2="40889" y2="21351"/>
                            <a14:backgroundMark x1="40889" y1="21351" x2="78222" y2="49054"/>
                            <a14:backgroundMark x1="93333" y1="94189" x2="80000" y2="89730"/>
                            <a14:backgroundMark x1="29000" y1="92703" x2="8667" y2="93243"/>
                            <a14:backgroundMark x1="64333" y1="89459" x2="71667" y2="92432"/>
                            <a14:backgroundMark x1="71667" y1="92432" x2="73889" y2="98514"/>
                            <a14:backgroundMark x1="65889" y1="97703" x2="61556" y2="90946"/>
                            <a14:backgroundMark x1="61556" y1="90946" x2="69930" y2="86898"/>
                            <a14:backgroundMark x1="93618" y1="86176" x2="99333" y2="94865"/>
                            <a14:backgroundMark x1="99333" y1="94865" x2="99333" y2="98243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469"/>
              <a:stretch/>
            </p:blipFill>
            <p:spPr bwMode="auto">
              <a:xfrm>
                <a:off x="-3150430" y="816996"/>
                <a:ext cx="2937302" cy="240196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9" name="Picture 8" descr="McGraw Hill GO">
              <a:extLst>
                <a:ext uri="{FF2B5EF4-FFF2-40B4-BE49-F238E27FC236}">
                  <a16:creationId xmlns:a16="http://schemas.microsoft.com/office/drawing/2014/main" id="{F4F08BEB-7411-BE84-830B-AF30482E69E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830575" y="4458092"/>
              <a:ext cx="2588079" cy="124876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6849487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0AF2A2-051E-731E-0D20-B3FFE85A5F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E6494A-2E0E-F69E-7F5F-8FD2753D89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DE00592-1C2A-A58A-E061-E1412DDD8187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970951" y="943790"/>
            <a:ext cx="3771151" cy="830997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Logging into Sharpen: Registered Students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3E3DEB1-3400-637A-3285-0216CA8754DD}"/>
              </a:ext>
            </a:extLst>
          </p:cNvPr>
          <p:cNvSpPr txBox="1"/>
          <p:nvPr/>
        </p:nvSpPr>
        <p:spPr>
          <a:xfrm>
            <a:off x="6968031" y="1791980"/>
            <a:ext cx="3942773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>
                <a:latin typeface="Arial"/>
                <a:ea typeface="Calibri"/>
                <a:cs typeface="Calibri"/>
              </a:rPr>
              <a:t>Step 1: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113FF0A-86FB-D04E-2B51-6932F4EFA857}"/>
              </a:ext>
            </a:extLst>
          </p:cNvPr>
          <p:cNvSpPr txBox="1">
            <a:spLocks/>
          </p:cNvSpPr>
          <p:nvPr/>
        </p:nvSpPr>
        <p:spPr>
          <a:xfrm>
            <a:off x="6967497" y="2348023"/>
            <a:ext cx="4752881" cy="364784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b="1">
                <a:latin typeface="Arial"/>
                <a:cs typeface="Arial"/>
              </a:rPr>
              <a:t>Sharpen Launch point</a:t>
            </a:r>
            <a:r>
              <a:rPr lang="en-US" sz="1800">
                <a:latin typeface="Arial"/>
                <a:cs typeface="Arial"/>
              </a:rPr>
              <a:t>: Once you have registered for Sharpen, you will always see the Sharpen launch point at the top of the GO reading screen. Click this to launch Sharpen in a new web window. </a:t>
            </a:r>
            <a:endParaRPr lang="en-US"/>
          </a:p>
          <a:p>
            <a:pPr marL="0" indent="0">
              <a:buNone/>
            </a:pPr>
            <a:endParaRPr lang="en-US"/>
          </a:p>
        </p:txBody>
      </p:sp>
      <p:pic>
        <p:nvPicPr>
          <p:cNvPr id="2" name="Picture 1" descr="Screenshot of GO assignment with Sharpen launch point highlighted. Yellow rectangle highlights the launch point.">
            <a:extLst>
              <a:ext uri="{FF2B5EF4-FFF2-40B4-BE49-F238E27FC236}">
                <a16:creationId xmlns:a16="http://schemas.microsoft.com/office/drawing/2014/main" id="{14594AFD-285D-C7E3-E71B-B5ECF3F747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4030" y="1015999"/>
            <a:ext cx="2909583" cy="297543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32B7568-22EE-B0CD-2DB6-C5C3FAC922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05132" y="1052202"/>
            <a:ext cx="764639" cy="193139"/>
          </a:xfrm>
          <a:prstGeom prst="rect">
            <a:avLst/>
          </a:prstGeom>
          <a:ln>
            <a:solidFill>
              <a:srgbClr val="FFFF00"/>
            </a:solidFill>
          </a:ln>
        </p:spPr>
      </p:pic>
      <p:pic>
        <p:nvPicPr>
          <p:cNvPr id="15" name="Picture 14" descr="Sharpen web app that opens after students open Sharpen from GO.">
            <a:extLst>
              <a:ext uri="{FF2B5EF4-FFF2-40B4-BE49-F238E27FC236}">
                <a16:creationId xmlns:a16="http://schemas.microsoft.com/office/drawing/2014/main" id="{DDDEBEC6-0162-C0BC-40CA-C8EB80A1BD6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2857" y="4862678"/>
            <a:ext cx="6966856" cy="1704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779762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BDBB3D-08E0-4F77-D05F-727E0D26A5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19C3C409-5836-B155-D0DA-9EF618E5A3F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>
          <a:xfrm>
            <a:off x="98651" y="2662133"/>
            <a:ext cx="3661086" cy="1420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>
                <a:latin typeface="Arial"/>
                <a:cs typeface="Arial"/>
              </a:rPr>
              <a:t>Getting Started with McGraw Hill </a:t>
            </a:r>
            <a:r>
              <a:rPr lang="en-US">
                <a:solidFill>
                  <a:srgbClr val="FFFFFF"/>
                </a:solidFill>
                <a:latin typeface="Arial"/>
                <a:cs typeface="Arial"/>
              </a:rPr>
              <a:t>GO </a:t>
            </a:r>
            <a:r>
              <a:rPr lang="en-US">
                <a:solidFill>
                  <a:schemeClr val="accent4">
                    <a:lumMod val="75000"/>
                  </a:schemeClr>
                </a:solidFill>
                <a:latin typeface="Arial"/>
                <a:cs typeface="Arial"/>
              </a:rPr>
              <a:t>and Sharpen</a:t>
            </a:r>
            <a:endParaRPr lang="en-US" baseline="30000">
              <a:solidFill>
                <a:schemeClr val="accent4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8E89D20-0534-3B8B-5C63-8AD4D1A2904E}"/>
              </a:ext>
            </a:extLst>
          </p:cNvPr>
          <p:cNvSpPr txBox="1">
            <a:spLocks/>
          </p:cNvSpPr>
          <p:nvPr/>
        </p:nvSpPr>
        <p:spPr>
          <a:xfrm>
            <a:off x="101373" y="4090759"/>
            <a:ext cx="3572059" cy="67862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What to Know on Your</a:t>
            </a:r>
            <a:br>
              <a:rPr lang="en-US"/>
            </a:br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First Day of Clas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6EE572-9EC7-1B66-88F3-F2C925BC559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427538" y="1714500"/>
            <a:ext cx="7081837" cy="44513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ank you!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7C413EC-DFE6-8E97-763B-6A458D13D6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0242" t="15990" b="239"/>
          <a:stretch/>
        </p:blipFill>
        <p:spPr>
          <a:xfrm>
            <a:off x="3884263" y="2239979"/>
            <a:ext cx="5848785" cy="4620372"/>
          </a:xfrm>
          <a:prstGeom prst="rect">
            <a:avLst/>
          </a:prstGeom>
        </p:spPr>
      </p:pic>
      <p:grpSp>
        <p:nvGrpSpPr>
          <p:cNvPr id="20" name="Group 19" descr="GO product on a computer screen.">
            <a:extLst>
              <a:ext uri="{FF2B5EF4-FFF2-40B4-BE49-F238E27FC236}">
                <a16:creationId xmlns:a16="http://schemas.microsoft.com/office/drawing/2014/main" id="{A77C16B1-670C-3BBD-F1A4-E29A6112C429}"/>
              </a:ext>
            </a:extLst>
          </p:cNvPr>
          <p:cNvGrpSpPr/>
          <p:nvPr/>
        </p:nvGrpSpPr>
        <p:grpSpPr>
          <a:xfrm>
            <a:off x="10038602" y="1061105"/>
            <a:ext cx="1932847" cy="1605327"/>
            <a:chOff x="2661057" y="4201464"/>
            <a:chExt cx="2937302" cy="2401962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81AFA19D-826E-1D12-FFC6-A08F73A51745}"/>
                </a:ext>
              </a:extLst>
            </p:cNvPr>
            <p:cNvGrpSpPr/>
            <p:nvPr/>
          </p:nvGrpSpPr>
          <p:grpSpPr>
            <a:xfrm>
              <a:off x="2661057" y="4201464"/>
              <a:ext cx="2937302" cy="2401962"/>
              <a:chOff x="-3150430" y="816996"/>
              <a:chExt cx="2937302" cy="2401962"/>
            </a:xfrm>
          </p:grpSpPr>
          <p:pic>
            <p:nvPicPr>
              <p:cNvPr id="18" name="Picture 17" descr="Course with McGraw Hill Connect ...">
                <a:extLst>
                  <a:ext uri="{FF2B5EF4-FFF2-40B4-BE49-F238E27FC236}">
                    <a16:creationId xmlns:a16="http://schemas.microsoft.com/office/drawing/2014/main" id="{E4C5C342-C48E-7C43-5FFC-1DF28700DF8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-2975189" y="1058723"/>
                <a:ext cx="2596243" cy="1298121"/>
              </a:xfrm>
              <a:prstGeom prst="rect">
                <a:avLst/>
              </a:prstGeom>
            </p:spPr>
          </p:pic>
          <p:pic>
            <p:nvPicPr>
              <p:cNvPr id="19" name="Picture 2" descr="Mac Icon png download - 1153*945 - Free Transparent Macbook Pro png  Download. - CleanPNG / KissPNG">
                <a:extLst>
                  <a:ext uri="{FF2B5EF4-FFF2-40B4-BE49-F238E27FC236}">
                    <a16:creationId xmlns:a16="http://schemas.microsoft.com/office/drawing/2014/main" id="{1C38FA7A-6A16-CEA8-ACBA-8EA024225D7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5" cstate="print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backgroundRemoval t="2568" b="96216" l="1000" r="99667">
                            <a14:foregroundMark x1="1000" y1="6351" x2="1000" y2="6351"/>
                            <a14:foregroundMark x1="3333" y1="4459" x2="13889" y2="3378"/>
                            <a14:foregroundMark x1="13889" y1="3378" x2="14111" y2="3243"/>
                            <a14:foregroundMark x1="65889" y1="3243" x2="78667" y2="3378"/>
                            <a14:foregroundMark x1="97222" y1="3649" x2="98222" y2="6757"/>
                            <a14:foregroundMark x1="83444" y1="71216" x2="90111" y2="72027"/>
                            <a14:foregroundMark x1="61111" y1="75946" x2="73889" y2="76216"/>
                            <a14:foregroundMark x1="46333" y1="77838" x2="57889" y2="78378"/>
                            <a14:foregroundMark x1="10111" y1="71892" x2="76444" y2="80676"/>
                            <a14:foregroundMark x1="76444" y1="80676" x2="90778" y2="79054"/>
                            <a14:foregroundMark x1="3889" y1="4730" x2="1222" y2="30000"/>
                            <a14:foregroundMark x1="26222" y1="3243" x2="60111" y2="2568"/>
                            <a14:foregroundMark x1="96556" y1="6892" x2="99667" y2="48784"/>
                            <a14:foregroundMark x1="99667" y1="48784" x2="97222" y2="70811"/>
                            <a14:foregroundMark x1="83778" y1="71622" x2="61111" y2="72703"/>
                            <a14:foregroundMark x1="3667" y1="70270" x2="29222" y2="73108"/>
                            <a14:foregroundMark x1="29222" y1="73108" x2="66444" y2="71622"/>
                            <a14:foregroundMark x1="1889" y1="77973" x2="20667" y2="77568"/>
                            <a14:foregroundMark x1="2000" y1="41486" x2="3667" y2="48784"/>
                            <a14:foregroundMark x1="2000" y1="29730" x2="2667" y2="70541"/>
                            <a14:foregroundMark x1="18333" y1="3243" x2="26111" y2="3378"/>
                            <a14:foregroundMark x1="48000" y1="87027" x2="54111" y2="86351"/>
                            <a14:foregroundMark x1="43111" y1="86081" x2="51556" y2="95811"/>
                            <a14:foregroundMark x1="51556" y1="95811" x2="56889" y2="96216"/>
                            <a14:foregroundMark x1="96556" y1="79054" x2="96556" y2="79054"/>
                            <a14:foregroundMark x1="94889" y1="77432" x2="95556" y2="80405"/>
                            <a14:foregroundMark x1="66667" y1="83919" x2="83222" y2="84189"/>
                            <a14:foregroundMark x1="83222" y1="84189" x2="98333" y2="82973"/>
                            <a14:foregroundMark x1="98333" y1="82973" x2="99556" y2="74865"/>
                            <a14:foregroundMark x1="99556" y1="74865" x2="90556" y2="73514"/>
                            <a14:foregroundMark x1="90556" y1="73514" x2="71333" y2="79459"/>
                            <a14:foregroundMark x1="71333" y1="79459" x2="66778" y2="83243"/>
                            <a14:backgroundMark x1="13556" y1="11486" x2="14778" y2="18378"/>
                            <a14:backgroundMark x1="14778" y1="18378" x2="40889" y2="21351"/>
                            <a14:backgroundMark x1="40889" y1="21351" x2="78222" y2="49054"/>
                            <a14:backgroundMark x1="93333" y1="94189" x2="80000" y2="89730"/>
                            <a14:backgroundMark x1="29000" y1="92703" x2="8667" y2="93243"/>
                            <a14:backgroundMark x1="64333" y1="89459" x2="71667" y2="92432"/>
                            <a14:backgroundMark x1="71667" y1="92432" x2="73889" y2="98514"/>
                            <a14:backgroundMark x1="65889" y1="97703" x2="61556" y2="90946"/>
                            <a14:backgroundMark x1="61556" y1="90946" x2="69930" y2="86898"/>
                            <a14:backgroundMark x1="93618" y1="86176" x2="99333" y2="94865"/>
                            <a14:backgroundMark x1="99333" y1="94865" x2="99333" y2="98243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469"/>
              <a:stretch/>
            </p:blipFill>
            <p:spPr bwMode="auto">
              <a:xfrm>
                <a:off x="-3150430" y="816996"/>
                <a:ext cx="2937302" cy="240196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17" name="Picture 16" descr="McGraw Hill GO">
              <a:extLst>
                <a:ext uri="{FF2B5EF4-FFF2-40B4-BE49-F238E27FC236}">
                  <a16:creationId xmlns:a16="http://schemas.microsoft.com/office/drawing/2014/main" id="{9BFFF1C9-C306-E931-1AFB-10316B9AD2D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830575" y="4458092"/>
              <a:ext cx="2588079" cy="1248763"/>
            </a:xfrm>
            <a:prstGeom prst="rect">
              <a:avLst/>
            </a:prstGeom>
          </p:spPr>
        </p:pic>
      </p:grpSp>
      <p:pic>
        <p:nvPicPr>
          <p:cNvPr id="14" name="Picture 13" descr="Sharpen on a computer screen and a mobile phone.">
            <a:extLst>
              <a:ext uri="{FF2B5EF4-FFF2-40B4-BE49-F238E27FC236}">
                <a16:creationId xmlns:a16="http://schemas.microsoft.com/office/drawing/2014/main" id="{A296A8E8-78EB-8F12-DA69-3DB75E69C93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225131" y="3120364"/>
            <a:ext cx="2077732" cy="1625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2047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73A9DF-2010-0D1C-0779-F4DBC4C7C7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8">
            <a:extLst>
              <a:ext uri="{FF2B5EF4-FFF2-40B4-BE49-F238E27FC236}">
                <a16:creationId xmlns:a16="http://schemas.microsoft.com/office/drawing/2014/main" id="{194A9891-A9FE-D631-C933-1462985B967C}"/>
              </a:ext>
            </a:extLst>
          </p:cNvPr>
          <p:cNvSpPr txBox="1"/>
          <p:nvPr/>
        </p:nvSpPr>
        <p:spPr>
          <a:xfrm>
            <a:off x="7340363" y="5316582"/>
            <a:ext cx="3169283" cy="1384995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pPr algn="l" fontAlgn="auto">
              <a:buNone/>
            </a:pPr>
            <a:r>
              <a:rPr lang="en-US" sz="1400" b="0" i="0">
                <a:solidFill>
                  <a:schemeClr val="bg2">
                    <a:lumMod val="10000"/>
                  </a:schemeClr>
                </a:solidFill>
                <a:effectLst/>
                <a:latin typeface="Proxima Nova" panose="02000506030000020004" pitchFamily="50" charset="0"/>
              </a:rPr>
              <a:t>College study app for exam prep that goes with our textbook and McGraw Hill GO, offering flashcards, quizzes, videos, and tools to stay on track.</a:t>
            </a:r>
          </a:p>
          <a:p>
            <a:pPr>
              <a:buNone/>
            </a:pPr>
            <a:br>
              <a:rPr lang="en-US" sz="1400">
                <a:solidFill>
                  <a:schemeClr val="bg2">
                    <a:lumMod val="10000"/>
                  </a:schemeClr>
                </a:solidFill>
                <a:latin typeface="Proxima Nova" panose="02000506030000020004" pitchFamily="50" charset="0"/>
              </a:rPr>
            </a:br>
            <a:endParaRPr lang="en-US" sz="1400">
              <a:solidFill>
                <a:schemeClr val="bg2">
                  <a:lumMod val="10000"/>
                </a:schemeClr>
              </a:solidFill>
              <a:latin typeface="Proxima Nova" panose="02000506030000020004" pitchFamily="50" charset="0"/>
            </a:endParaRPr>
          </a:p>
        </p:txBody>
      </p:sp>
      <p:pic>
        <p:nvPicPr>
          <p:cNvPr id="17" name="Picture 16" descr="Sharpen logo. &#10;">
            <a:extLst>
              <a:ext uri="{FF2B5EF4-FFF2-40B4-BE49-F238E27FC236}">
                <a16:creationId xmlns:a16="http://schemas.microsoft.com/office/drawing/2014/main" id="{737A586C-FC86-0355-2DD4-98C6439371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0363" y="4904713"/>
            <a:ext cx="1397609" cy="350595"/>
          </a:xfrm>
          <a:prstGeom prst="rect">
            <a:avLst/>
          </a:prstGeom>
        </p:spPr>
      </p:pic>
      <p:sp>
        <p:nvSpPr>
          <p:cNvPr id="15" name="TextBox 5">
            <a:extLst>
              <a:ext uri="{FF2B5EF4-FFF2-40B4-BE49-F238E27FC236}">
                <a16:creationId xmlns:a16="http://schemas.microsoft.com/office/drawing/2014/main" id="{F65D68D0-633F-478B-E06C-655ED68CC04C}"/>
              </a:ext>
            </a:extLst>
          </p:cNvPr>
          <p:cNvSpPr txBox="1"/>
          <p:nvPr/>
        </p:nvSpPr>
        <p:spPr>
          <a:xfrm>
            <a:off x="7966741" y="2505670"/>
            <a:ext cx="2288703" cy="1846659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en-CA" b="1">
                <a:solidFill>
                  <a:schemeClr val="tx1">
                    <a:lumMod val="50000"/>
                  </a:schemeClr>
                </a:solidFill>
                <a:effectLst/>
                <a:latin typeface="Proxima Nova" panose="0200050603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Quiz While You Read</a:t>
            </a:r>
          </a:p>
          <a:p>
            <a:endParaRPr lang="en-CA" sz="800" b="1">
              <a:solidFill>
                <a:schemeClr val="tx1">
                  <a:lumMod val="50000"/>
                </a:schemeClr>
              </a:solidFill>
              <a:effectLst/>
              <a:latin typeface="Proxima Nova" panose="0200050603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CA" sz="1400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Check your understanding and</a:t>
            </a:r>
            <a:r>
              <a:rPr lang="en-CA" sz="1400">
                <a:solidFill>
                  <a:schemeClr val="tx1">
                    <a:lumMod val="50000"/>
                  </a:schemeClr>
                </a:solidFill>
                <a:effectLst/>
                <a:latin typeface="Proxima Nova" panose="0200050603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 flip from readings to assessments to gauge your grasp of the concepts covered.</a:t>
            </a:r>
            <a:endParaRPr lang="en-US" sz="1400">
              <a:solidFill>
                <a:schemeClr val="tx1">
                  <a:lumMod val="50000"/>
                </a:schemeClr>
              </a:solidFill>
              <a:latin typeface="Proxima Nova" panose="02000506030000020004" pitchFamily="50" charset="0"/>
            </a:endParaRPr>
          </a:p>
        </p:txBody>
      </p:sp>
      <p:pic>
        <p:nvPicPr>
          <p:cNvPr id="16" name="Graphic 6" descr="Checklist outline">
            <a:extLst>
              <a:ext uri="{FF2B5EF4-FFF2-40B4-BE49-F238E27FC236}">
                <a16:creationId xmlns:a16="http://schemas.microsoft.com/office/drawing/2014/main" id="{2901980D-679C-C57F-7579-C2940BAA2C1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24769" y="2476609"/>
            <a:ext cx="914400" cy="914400"/>
          </a:xfrm>
          <a:prstGeom prst="rect">
            <a:avLst/>
          </a:prstGeom>
        </p:spPr>
      </p:pic>
      <p:sp>
        <p:nvSpPr>
          <p:cNvPr id="12" name="TextBox 2">
            <a:extLst>
              <a:ext uri="{FF2B5EF4-FFF2-40B4-BE49-F238E27FC236}">
                <a16:creationId xmlns:a16="http://schemas.microsoft.com/office/drawing/2014/main" id="{65E36ACA-E51D-FC04-26EC-403B27C19247}"/>
              </a:ext>
            </a:extLst>
          </p:cNvPr>
          <p:cNvSpPr txBox="1"/>
          <p:nvPr/>
        </p:nvSpPr>
        <p:spPr>
          <a:xfrm>
            <a:off x="4083905" y="4942164"/>
            <a:ext cx="2568966" cy="1569660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en-CA" b="1">
                <a:solidFill>
                  <a:schemeClr val="tx1">
                    <a:lumMod val="50000"/>
                  </a:schemeClr>
                </a:solidFill>
                <a:effectLst/>
                <a:latin typeface="Proxima Nova" panose="0200050603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On-the-GO Access</a:t>
            </a:r>
          </a:p>
          <a:p>
            <a:endParaRPr lang="en-CA" sz="800" b="1">
              <a:solidFill>
                <a:schemeClr val="tx1">
                  <a:lumMod val="50000"/>
                </a:schemeClr>
              </a:solidFill>
              <a:effectLst/>
              <a:latin typeface="Proxima Nova" panose="0200050603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CA" sz="1400">
                <a:solidFill>
                  <a:schemeClr val="tx1">
                    <a:lumMod val="50000"/>
                  </a:schemeClr>
                </a:solidFill>
                <a:effectLst/>
                <a:latin typeface="Proxima Nova" panose="0200050603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Access your McGraw Hill GO eBook on mobile devices through the free </a:t>
            </a:r>
            <a:r>
              <a:rPr lang="en-CA" sz="1400" b="1">
                <a:solidFill>
                  <a:schemeClr val="tx1">
                    <a:lumMod val="50000"/>
                  </a:schemeClr>
                </a:solidFill>
                <a:effectLst/>
                <a:latin typeface="Proxima Nova" panose="0200050603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ReadAnywhere app </a:t>
            </a:r>
            <a:r>
              <a:rPr lang="en-CA" sz="1400">
                <a:solidFill>
                  <a:schemeClr val="tx1">
                    <a:lumMod val="50000"/>
                  </a:schemeClr>
                </a:solidFill>
                <a:effectLst/>
                <a:latin typeface="Proxima Nova" panose="0200050603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(must activate GO first). </a:t>
            </a:r>
            <a:endParaRPr lang="en-US" sz="1400">
              <a:solidFill>
                <a:schemeClr val="tx1">
                  <a:lumMod val="50000"/>
                </a:schemeClr>
              </a:solidFill>
              <a:latin typeface="Proxima Nova" panose="02000506030000020004" pitchFamily="50" charset="0"/>
            </a:endParaRPr>
          </a:p>
        </p:txBody>
      </p:sp>
      <p:pic>
        <p:nvPicPr>
          <p:cNvPr id="13" name="Picture 12" descr="A logo of a computer">
            <a:extLst>
              <a:ext uri="{FF2B5EF4-FFF2-40B4-BE49-F238E27FC236}">
                <a16:creationId xmlns:a16="http://schemas.microsoft.com/office/drawing/2014/main" id="{A4E0CF43-3E92-C35B-AE46-492387AA19E5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291415" y="4942164"/>
            <a:ext cx="645644" cy="622381"/>
          </a:xfrm>
          <a:prstGeom prst="rect">
            <a:avLst/>
          </a:prstGeom>
        </p:spPr>
      </p:pic>
      <p:sp>
        <p:nvSpPr>
          <p:cNvPr id="11" name="TextBox 1">
            <a:extLst>
              <a:ext uri="{FF2B5EF4-FFF2-40B4-BE49-F238E27FC236}">
                <a16:creationId xmlns:a16="http://schemas.microsoft.com/office/drawing/2014/main" id="{4A031514-1A38-CFAD-B514-B965E7D0F3C9}"/>
              </a:ext>
            </a:extLst>
          </p:cNvPr>
          <p:cNvSpPr txBox="1"/>
          <p:nvPr/>
        </p:nvSpPr>
        <p:spPr>
          <a:xfrm>
            <a:off x="4083905" y="2505671"/>
            <a:ext cx="2568966" cy="1846659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en-US" b="1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</a:rPr>
              <a:t>Actively Read </a:t>
            </a:r>
            <a:r>
              <a:rPr lang="en-US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</a:rPr>
              <a:t>using the </a:t>
            </a:r>
            <a:r>
              <a:rPr lang="en-US" b="1" u="sng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</a:rPr>
              <a:t>AI Reader</a:t>
            </a:r>
          </a:p>
          <a:p>
            <a:endParaRPr lang="en-US" sz="800" b="1" u="sng">
              <a:solidFill>
                <a:schemeClr val="tx1">
                  <a:lumMod val="50000"/>
                </a:schemeClr>
              </a:solidFill>
              <a:latin typeface="Proxima Nova" panose="02000506030000020004" pitchFamily="50" charset="0"/>
            </a:endParaRPr>
          </a:p>
          <a:p>
            <a:r>
              <a:rPr lang="en-US" sz="1400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</a:rPr>
              <a:t>Leverage the power of our </a:t>
            </a:r>
            <a:r>
              <a:rPr lang="en-US" sz="1400" b="1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</a:rPr>
              <a:t>gen AI tool embedded in the ebook </a:t>
            </a:r>
            <a:r>
              <a:rPr lang="en-US" sz="1400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</a:rPr>
              <a:t>to expand your understanding and boost your curiosity.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002284E-5D84-387E-BD99-B5D36B5600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3268" t="7406" r="11943" b="6060"/>
          <a:stretch/>
        </p:blipFill>
        <p:spPr>
          <a:xfrm>
            <a:off x="3319238" y="2574035"/>
            <a:ext cx="617821" cy="59766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glow rad="101600">
              <a:schemeClr val="accent5">
                <a:satMod val="175000"/>
                <a:alpha val="40000"/>
              </a:schemeClr>
            </a:glow>
            <a:reflection blurRad="12700" stA="38000" endPos="28000" dist="5000" dir="5400000" sy="-100000" algn="bl" rotWithShape="0"/>
          </a:effectLst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E13E2C1-047A-07ED-3079-56F16BD7A0B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34573" y="1726816"/>
            <a:ext cx="8277164" cy="827655"/>
          </a:xfrm>
        </p:spPr>
        <p:txBody>
          <a:bodyPr/>
          <a:lstStyle/>
          <a:p>
            <a:r>
              <a:rPr lang="en-US" b="1" dirty="0">
                <a:solidFill>
                  <a:schemeClr val="bg2">
                    <a:lumMod val="10000"/>
                  </a:schemeClr>
                </a:solidFill>
                <a:latin typeface="Proxima Nova" panose="02000506030000020004" pitchFamily="50" charset="0"/>
              </a:rPr>
              <a:t>McGraw Hill GO is an eBook+ </a:t>
            </a:r>
            <a:r>
              <a:rPr lang="en-US" dirty="0">
                <a:solidFill>
                  <a:schemeClr val="bg2">
                    <a:lumMod val="10000"/>
                  </a:schemeClr>
                </a:solidFill>
                <a:latin typeface="Proxima Nova" panose="02000506030000020004" pitchFamily="50" charset="0"/>
              </a:rPr>
              <a:t>embedded directly in your LMS course – no additional logins or access required</a:t>
            </a:r>
          </a:p>
          <a:p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BBFBC29-1E2D-D7C9-3965-780E6414B3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4573" y="1084310"/>
            <a:ext cx="5422996" cy="748230"/>
          </a:xfrm>
        </p:spPr>
        <p:txBody>
          <a:bodyPr/>
          <a:lstStyle/>
          <a:p>
            <a:r>
              <a:rPr lang="en-US" dirty="0"/>
              <a:t>What is McGraw Hill GO?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B4C75BC-FC16-E2DC-FCF1-780F75E9F884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7" y="190253"/>
            <a:ext cx="5584132" cy="365125"/>
          </a:xfrm>
        </p:spPr>
        <p:txBody>
          <a:bodyPr/>
          <a:lstStyle/>
          <a:p>
            <a:r>
              <a:rPr lang="en-US" dirty="0"/>
              <a:t>D2L Brightspace with Regular Integration</a:t>
            </a:r>
          </a:p>
        </p:txBody>
      </p:sp>
    </p:spTree>
    <p:extLst>
      <p:ext uri="{BB962C8B-B14F-4D97-AF65-F5344CB8AC3E}">
        <p14:creationId xmlns:p14="http://schemas.microsoft.com/office/powerpoint/2010/main" val="31375501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B689AD-3D61-36EA-2948-6B112DE424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1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84D9E0-C4F1-9D66-8F9F-2C7B5B1221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2672" y="283628"/>
            <a:ext cx="4454104" cy="331932"/>
          </a:xfrm>
        </p:spPr>
        <p:txBody>
          <a:bodyPr/>
          <a:lstStyle/>
          <a:p>
            <a:r>
              <a:rPr lang="en-US" dirty="0"/>
              <a:t>D2L Brightspace with Regular Integration</a:t>
            </a:r>
          </a:p>
          <a:p>
            <a:endParaRPr lang="en-US" dirty="0"/>
          </a:p>
        </p:txBody>
      </p:sp>
      <p:pic>
        <p:nvPicPr>
          <p:cNvPr id="4" name="Picture 3" descr="Student in computer lab typing on laptop.">
            <a:extLst>
              <a:ext uri="{FF2B5EF4-FFF2-40B4-BE49-F238E27FC236}">
                <a16:creationId xmlns:a16="http://schemas.microsoft.com/office/drawing/2014/main" id="{AF3AFC82-7C61-DC66-C643-548367B3DB8F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750407" y="1776412"/>
            <a:ext cx="3305175" cy="330517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A45F9B9-E32E-C37A-7B68-4ED6AC21FF2D}"/>
              </a:ext>
            </a:extLst>
          </p:cNvPr>
          <p:cNvSpPr txBox="1"/>
          <p:nvPr/>
        </p:nvSpPr>
        <p:spPr>
          <a:xfrm>
            <a:off x="4517712" y="1857543"/>
            <a:ext cx="692388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  <a:cs typeface="Calibri"/>
              </a:rPr>
              <a:t>To access McGraw Hill GO, select a GO assignment in the Content area of your D2L Brightspace course.</a:t>
            </a:r>
            <a:endParaRPr lang="en-US" dirty="0">
              <a:solidFill>
                <a:schemeClr val="tx1">
                  <a:lumMod val="50000"/>
                </a:schemeClr>
              </a:solidFill>
              <a:latin typeface="Proxima Nova" panose="02000506030000020004" pitchFamily="50" charset="0"/>
            </a:endParaRPr>
          </a:p>
        </p:txBody>
      </p:sp>
      <p:pic>
        <p:nvPicPr>
          <p:cNvPr id="7" name="Picture 7" descr="A screenshot of a computer">
            <a:extLst>
              <a:ext uri="{FF2B5EF4-FFF2-40B4-BE49-F238E27FC236}">
                <a16:creationId xmlns:a16="http://schemas.microsoft.com/office/drawing/2014/main" id="{83D0F6EA-4AC8-21C6-455F-61DC465E840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26287" t="35558"/>
          <a:stretch/>
        </p:blipFill>
        <p:spPr>
          <a:xfrm>
            <a:off x="5573730" y="3428999"/>
            <a:ext cx="4626312" cy="23589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8087859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C81779-ED6B-C1F6-67BC-417EE87BE8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EF012F-23DA-E89E-87E8-98AB82EE80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2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F91D6B3-F334-BF8B-2D50-7214895F8693}"/>
              </a:ext>
            </a:extLst>
          </p:cNvPr>
          <p:cNvSpPr txBox="1"/>
          <p:nvPr/>
        </p:nvSpPr>
        <p:spPr>
          <a:xfrm>
            <a:off x="7006856" y="1447371"/>
            <a:ext cx="4590386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US" dirty="0">
                <a:latin typeface="Proxima Nova" panose="02000506030000020004" pitchFamily="50" charset="0"/>
                <a:cs typeface="Arial"/>
              </a:rPr>
              <a:t>The first time you launch a GO assignment, you will see three access options:</a:t>
            </a:r>
          </a:p>
          <a:p>
            <a:pPr marL="342900" indent="-342900">
              <a:spcAft>
                <a:spcPts val="900"/>
              </a:spcAft>
              <a:buAutoNum type="arabicPeriod"/>
            </a:pPr>
            <a:r>
              <a:rPr lang="en-US" b="1" dirty="0">
                <a:latin typeface="Proxima Nova" panose="02000506030000020004" pitchFamily="50" charset="0"/>
                <a:cs typeface="Arial"/>
              </a:rPr>
              <a:t>McGraw Hill GO Code:</a:t>
            </a:r>
            <a:r>
              <a:rPr lang="en-US" dirty="0">
                <a:latin typeface="Proxima Nova" panose="02000506030000020004" pitchFamily="50" charset="0"/>
                <a:cs typeface="Arial"/>
              </a:rPr>
              <a:t> Enter a McGraw Hill GO access code and click </a:t>
            </a:r>
            <a:r>
              <a:rPr lang="en-US" b="1" dirty="0">
                <a:latin typeface="Proxima Nova" panose="02000506030000020004" pitchFamily="50" charset="0"/>
                <a:cs typeface="Arial"/>
              </a:rPr>
              <a:t>Redeem.</a:t>
            </a:r>
          </a:p>
          <a:p>
            <a:pPr marL="342900" indent="-342900">
              <a:spcAft>
                <a:spcPts val="900"/>
              </a:spcAft>
              <a:buAutoNum type="arabicPeriod"/>
            </a:pPr>
            <a:r>
              <a:rPr lang="en-US" b="1" dirty="0">
                <a:latin typeface="Proxima Nova" panose="02000506030000020004" pitchFamily="50" charset="0"/>
                <a:cs typeface="Arial"/>
              </a:rPr>
              <a:t>Purchase Online:</a:t>
            </a:r>
            <a:r>
              <a:rPr lang="en-US" dirty="0">
                <a:latin typeface="Proxima Nova" panose="02000506030000020004" pitchFamily="50" charset="0"/>
                <a:cs typeface="Arial"/>
              </a:rPr>
              <a:t> Click </a:t>
            </a:r>
            <a:r>
              <a:rPr lang="en-US" b="1" dirty="0">
                <a:latin typeface="Proxima Nova" panose="02000506030000020004" pitchFamily="50" charset="0"/>
                <a:cs typeface="Arial"/>
              </a:rPr>
              <a:t>Purchase</a:t>
            </a:r>
            <a:r>
              <a:rPr lang="en-US" dirty="0">
                <a:latin typeface="Proxima Nova" panose="02000506030000020004" pitchFamily="50" charset="0"/>
                <a:cs typeface="Arial"/>
              </a:rPr>
              <a:t> to use a credit card or PayPal.</a:t>
            </a:r>
          </a:p>
          <a:p>
            <a:pPr marL="342900" indent="-342900">
              <a:spcAft>
                <a:spcPts val="900"/>
              </a:spcAft>
              <a:buAutoNum type="arabicPeriod"/>
            </a:pPr>
            <a:r>
              <a:rPr lang="en-US" b="1" dirty="0">
                <a:latin typeface="Proxima Nova" panose="02000506030000020004" pitchFamily="50" charset="0"/>
                <a:cs typeface="Arial"/>
              </a:rPr>
              <a:t>Temporary Access:</a:t>
            </a:r>
            <a:r>
              <a:rPr lang="en-US" dirty="0">
                <a:latin typeface="Proxima Nova" panose="02000506030000020004" pitchFamily="50" charset="0"/>
                <a:cs typeface="Arial"/>
              </a:rPr>
              <a:t> Click </a:t>
            </a:r>
            <a:r>
              <a:rPr lang="en-US" b="1" dirty="0">
                <a:latin typeface="Proxima Nova" panose="02000506030000020004" pitchFamily="50" charset="0"/>
                <a:cs typeface="Arial"/>
              </a:rPr>
              <a:t>Access now</a:t>
            </a:r>
            <a:r>
              <a:rPr lang="en-US" dirty="0">
                <a:latin typeface="Proxima Nova" panose="02000506030000020004" pitchFamily="50" charset="0"/>
                <a:cs typeface="Arial"/>
              </a:rPr>
              <a:t> for 14 days of temporary access.</a:t>
            </a:r>
          </a:p>
          <a:p>
            <a:endParaRPr lang="en-US" dirty="0"/>
          </a:p>
        </p:txBody>
      </p:sp>
      <p:pic>
        <p:nvPicPr>
          <p:cNvPr id="4" name="Picture 5" descr="A screenshot of a computer">
            <a:extLst>
              <a:ext uri="{FF2B5EF4-FFF2-40B4-BE49-F238E27FC236}">
                <a16:creationId xmlns:a16="http://schemas.microsoft.com/office/drawing/2014/main" id="{EB3E5DB9-2F18-468D-E22E-6145765B77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2672" y="1447371"/>
            <a:ext cx="5877790" cy="4640199"/>
          </a:xfrm>
          <a:prstGeom prst="rect">
            <a:avLst/>
          </a:prstGeom>
        </p:spPr>
      </p:pic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D7782CCC-417C-F603-A299-10BBD7F091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2672" y="283628"/>
            <a:ext cx="4454104" cy="331932"/>
          </a:xfrm>
        </p:spPr>
        <p:txBody>
          <a:bodyPr/>
          <a:lstStyle/>
          <a:p>
            <a:r>
              <a:rPr lang="en-US" dirty="0"/>
              <a:t>D2L Brightspace with Regular Integratio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3065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66140C-3D9B-35D8-5A39-128A961194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83A130-29C2-E441-1428-7557D25C17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3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4AA4E02-6AE3-16DC-A0A0-04F56927A6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2672" y="283628"/>
            <a:ext cx="4454104" cy="331932"/>
          </a:xfrm>
        </p:spPr>
        <p:txBody>
          <a:bodyPr/>
          <a:lstStyle/>
          <a:p>
            <a:r>
              <a:rPr lang="en-US" dirty="0"/>
              <a:t>D2L Brightspace with Regular Integration</a:t>
            </a:r>
          </a:p>
          <a:p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21BAABA9-7BBE-47C0-31E6-39608C1D76B7}"/>
              </a:ext>
            </a:extLst>
          </p:cNvPr>
          <p:cNvSpPr txBox="1">
            <a:spLocks/>
          </p:cNvSpPr>
          <p:nvPr/>
        </p:nvSpPr>
        <p:spPr>
          <a:xfrm>
            <a:off x="682672" y="1736496"/>
            <a:ext cx="10826656" cy="4374092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00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343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900"/>
              </a:spcAft>
            </a:pPr>
            <a:r>
              <a:rPr lang="en-US" dirty="0">
                <a:latin typeface="Proxima Nova" panose="02000506030000020004" pitchFamily="50" charset="0"/>
                <a:cs typeface="Arial"/>
              </a:rPr>
              <a:t>After completing the steps for your selected access method, "confirm" your McGraw Hill GO access.</a:t>
            </a:r>
            <a:endParaRPr lang="en-US" dirty="0">
              <a:latin typeface="Proxima Nova" panose="02000506030000020004" pitchFamily="50" charset="0"/>
            </a:endParaRPr>
          </a:p>
        </p:txBody>
      </p:sp>
      <p:pic>
        <p:nvPicPr>
          <p:cNvPr id="5" name="Picture 6" descr="A close-up of a course information">
            <a:extLst>
              <a:ext uri="{FF2B5EF4-FFF2-40B4-BE49-F238E27FC236}">
                <a16:creationId xmlns:a16="http://schemas.microsoft.com/office/drawing/2014/main" id="{E654E2B5-00A0-E68E-3615-8C9CD0E130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26377" y="2901485"/>
            <a:ext cx="5739245" cy="2285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12558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79E7C4-3776-7E45-0132-1F4CB8DED2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30D99D-2C1B-FDCE-788D-C0A7FF819F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4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084FAEE-FF49-B11E-3E7A-7B4B3400ECD7}"/>
              </a:ext>
            </a:extLst>
          </p:cNvPr>
          <p:cNvSpPr txBox="1">
            <a:spLocks/>
          </p:cNvSpPr>
          <p:nvPr/>
        </p:nvSpPr>
        <p:spPr>
          <a:xfrm>
            <a:off x="682671" y="1780549"/>
            <a:ext cx="10609105" cy="437356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00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343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900"/>
              </a:spcAft>
            </a:pPr>
            <a:r>
              <a:rPr lang="en-US" dirty="0">
                <a:latin typeface="Proxima Nova" panose="02000506030000020004" pitchFamily="50" charset="0"/>
                <a:cs typeface="Arial"/>
              </a:rPr>
              <a:t>Select Complete Registration and then you can access your first McGraw Hill GO assignment!</a:t>
            </a:r>
            <a:endParaRPr lang="en-US" dirty="0">
              <a:latin typeface="Proxima Nova" panose="02000506030000020004" pitchFamily="50" charset="0"/>
            </a:endParaRPr>
          </a:p>
        </p:txBody>
      </p:sp>
      <p:pic>
        <p:nvPicPr>
          <p:cNvPr id="4" name="Picture 6" descr="A close-up of a course information">
            <a:extLst>
              <a:ext uri="{FF2B5EF4-FFF2-40B4-BE49-F238E27FC236}">
                <a16:creationId xmlns:a16="http://schemas.microsoft.com/office/drawing/2014/main" id="{1841F5AC-D1DF-0A22-4553-CC8EEF5701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05906" y="2764201"/>
            <a:ext cx="5869131" cy="2406257"/>
          </a:xfrm>
          <a:prstGeom prst="rect">
            <a:avLst/>
          </a:prstGeom>
        </p:spPr>
      </p:pic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2BBC6858-55F5-08AD-C7B2-C6B874F0A6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2672" y="283628"/>
            <a:ext cx="4454104" cy="331932"/>
          </a:xfrm>
        </p:spPr>
        <p:txBody>
          <a:bodyPr/>
          <a:lstStyle/>
          <a:p>
            <a:r>
              <a:rPr lang="en-US" dirty="0"/>
              <a:t>D2L Brightspace with Regular Integratio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8442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A813C9-3AD3-29F5-48C7-E656383877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9080" y="1718704"/>
            <a:ext cx="4831300" cy="1420574"/>
          </a:xfrm>
        </p:spPr>
        <p:txBody>
          <a:bodyPr>
            <a:normAutofit/>
          </a:bodyPr>
          <a:lstStyle/>
          <a:p>
            <a:r>
              <a:rPr lang="en-US">
                <a:latin typeface="Arial"/>
                <a:cs typeface="Arial"/>
              </a:rPr>
              <a:t>Getting Started with McGraw Hill GO</a:t>
            </a:r>
            <a:r>
              <a:rPr lang="en-US" sz="2100" baseline="30000">
                <a:latin typeface="Arial"/>
                <a:cs typeface="Arial"/>
              </a:rPr>
              <a:t>® </a:t>
            </a:r>
            <a:br>
              <a:rPr lang="en-US" sz="2100" baseline="30000">
                <a:latin typeface="Arial"/>
                <a:cs typeface="Arial"/>
              </a:rPr>
            </a:br>
            <a:r>
              <a:rPr lang="en-US">
                <a:solidFill>
                  <a:schemeClr val="accent4">
                    <a:lumMod val="75000"/>
                  </a:schemeClr>
                </a:solidFill>
              </a:rPr>
              <a:t>and Sharpen</a:t>
            </a:r>
            <a:r>
              <a:rPr lang="en-US">
                <a:latin typeface="Arial"/>
                <a:cs typeface="Arial"/>
              </a:rPr>
              <a:t> </a:t>
            </a:r>
            <a:r>
              <a:rPr lang="en-US" baseline="30000">
                <a:latin typeface="Arial"/>
                <a:cs typeface="Arial"/>
              </a:rPr>
              <a:t>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CEB6F2-1D61-AD49-4BF3-123CE624DBE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08087" y="3101973"/>
            <a:ext cx="4533631" cy="723986"/>
          </a:xfrm>
        </p:spPr>
        <p:txBody>
          <a:bodyPr/>
          <a:lstStyle/>
          <a:p>
            <a:r>
              <a:rPr lang="en-US"/>
              <a:t>What to Know on Your </a:t>
            </a:r>
            <a:br>
              <a:rPr lang="en-US"/>
            </a:br>
            <a:r>
              <a:rPr lang="en-US"/>
              <a:t>First Day of Clas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CF8DC1-294A-3B17-394F-77CB7480A2F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2918B3A-34B7-765B-6FFF-954DC31DBED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75977C7-63D2-A57C-FF70-D762B6C44A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0251"/>
          <a:stretch/>
        </p:blipFill>
        <p:spPr>
          <a:xfrm>
            <a:off x="5671335" y="583701"/>
            <a:ext cx="6664502" cy="6274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36742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729200-C3FB-09B6-A40C-FD5C04487E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EA8DB61-D5CC-B122-DEB6-DDFE19AFA4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873" y="1020117"/>
            <a:ext cx="10750091" cy="365379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tudents: What is GO with Sharpen?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36FA738-FF10-8511-66C5-0167282DB02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634" y="1736496"/>
            <a:ext cx="10706330" cy="4374092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harpen is McGraw Hill's newest study tool: an exam prep app included in GO! By using both GO and Sharpen, you can master your course material and ace your exams. </a:t>
            </a:r>
            <a:endParaRPr lang="en-US"/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harpen has hundreds of bite-sized study tools customized for your course so you can learn in just 5 minutes. The app delivers personalized  study tips based on your in-app performance, so you can see what you know and what you need to review.</a:t>
            </a:r>
            <a:endParaRPr lang="en-US"/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ince Sharpen is made by McGraw Hill, you can trust its content: accurate and focused on the most important concepts. You can launch Sharpen with one click from GO or log into </a:t>
            </a:r>
            <a:r>
              <a:rPr lang="en-US" b="1" err="1">
                <a:latin typeface="Arial"/>
                <a:cs typeface="Arial"/>
              </a:rPr>
              <a:t>Sharpen's</a:t>
            </a:r>
            <a:r>
              <a:rPr lang="en-US" b="1">
                <a:latin typeface="Arial"/>
                <a:cs typeface="Arial"/>
              </a:rPr>
              <a:t> web or mobile apps.</a:t>
            </a:r>
            <a:endParaRPr lang="en-US">
              <a:solidFill>
                <a:srgbClr val="000000"/>
              </a:solidFill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DFAF4BB5-C741-3C28-638E-3A715D44CF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GO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latin typeface="Arial"/>
              <a:cs typeface="Arial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9A7BC40-62AA-C453-DD5C-16670191D2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564152" y="5040163"/>
            <a:ext cx="1943966" cy="109450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3" name="Group 22" descr="GO on a computer screen.">
            <a:extLst>
              <a:ext uri="{FF2B5EF4-FFF2-40B4-BE49-F238E27FC236}">
                <a16:creationId xmlns:a16="http://schemas.microsoft.com/office/drawing/2014/main" id="{88353D54-AE87-30F1-3289-6964EE5BF2A9}"/>
              </a:ext>
            </a:extLst>
          </p:cNvPr>
          <p:cNvGrpSpPr/>
          <p:nvPr/>
        </p:nvGrpSpPr>
        <p:grpSpPr>
          <a:xfrm>
            <a:off x="3492330" y="4963463"/>
            <a:ext cx="2071393" cy="1697690"/>
            <a:chOff x="3492330" y="4963463"/>
            <a:chExt cx="2071393" cy="1697690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518CEFCB-450D-B336-DE65-A065DDA0B61A}"/>
                </a:ext>
              </a:extLst>
            </p:cNvPr>
            <p:cNvGrpSpPr/>
            <p:nvPr/>
          </p:nvGrpSpPr>
          <p:grpSpPr>
            <a:xfrm>
              <a:off x="3492330" y="4963463"/>
              <a:ext cx="2071393" cy="1697690"/>
              <a:chOff x="-3150430" y="816996"/>
              <a:chExt cx="2937302" cy="2401962"/>
            </a:xfrm>
          </p:grpSpPr>
          <p:pic>
            <p:nvPicPr>
              <p:cNvPr id="16" name="Picture 15" descr="Course with McGraw Hill Connect ...">
                <a:extLst>
                  <a:ext uri="{FF2B5EF4-FFF2-40B4-BE49-F238E27FC236}">
                    <a16:creationId xmlns:a16="http://schemas.microsoft.com/office/drawing/2014/main" id="{B9692E7C-3171-CAFF-1C9A-259087E3500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-2975189" y="1058723"/>
                <a:ext cx="2596243" cy="1298121"/>
              </a:xfrm>
              <a:prstGeom prst="rect">
                <a:avLst/>
              </a:prstGeom>
            </p:spPr>
          </p:pic>
          <p:pic>
            <p:nvPicPr>
              <p:cNvPr id="18" name="Picture 2" descr="Mac Icon png download - 1153*945 - Free Transparent Macbook Pro png  Download. - CleanPNG / KissPNG">
                <a:extLst>
                  <a:ext uri="{FF2B5EF4-FFF2-40B4-BE49-F238E27FC236}">
                    <a16:creationId xmlns:a16="http://schemas.microsoft.com/office/drawing/2014/main" id="{3EBDEE55-838E-2349-EAA8-6A71043D0C2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4" cstate="print"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backgroundRemoval t="2568" b="96216" l="1000" r="99667">
                            <a14:foregroundMark x1="1000" y1="6351" x2="1000" y2="6351"/>
                            <a14:foregroundMark x1="3333" y1="4459" x2="13889" y2="3378"/>
                            <a14:foregroundMark x1="13889" y1="3378" x2="14111" y2="3243"/>
                            <a14:foregroundMark x1="65889" y1="3243" x2="78667" y2="3378"/>
                            <a14:foregroundMark x1="97222" y1="3649" x2="98222" y2="6757"/>
                            <a14:foregroundMark x1="83444" y1="71216" x2="90111" y2="72027"/>
                            <a14:foregroundMark x1="61111" y1="75946" x2="73889" y2="76216"/>
                            <a14:foregroundMark x1="46333" y1="77838" x2="57889" y2="78378"/>
                            <a14:foregroundMark x1="10111" y1="71892" x2="76444" y2="80676"/>
                            <a14:foregroundMark x1="76444" y1="80676" x2="90778" y2="79054"/>
                            <a14:foregroundMark x1="3889" y1="4730" x2="1222" y2="30000"/>
                            <a14:foregroundMark x1="26222" y1="3243" x2="60111" y2="2568"/>
                            <a14:foregroundMark x1="96556" y1="6892" x2="99667" y2="48784"/>
                            <a14:foregroundMark x1="99667" y1="48784" x2="97222" y2="70811"/>
                            <a14:foregroundMark x1="83778" y1="71622" x2="61111" y2="72703"/>
                            <a14:foregroundMark x1="3667" y1="70270" x2="29222" y2="73108"/>
                            <a14:foregroundMark x1="29222" y1="73108" x2="66444" y2="71622"/>
                            <a14:foregroundMark x1="1889" y1="77973" x2="20667" y2="77568"/>
                            <a14:foregroundMark x1="2000" y1="41486" x2="3667" y2="48784"/>
                            <a14:foregroundMark x1="2000" y1="29730" x2="2667" y2="70541"/>
                            <a14:foregroundMark x1="18333" y1="3243" x2="26111" y2="3378"/>
                            <a14:foregroundMark x1="48000" y1="87027" x2="54111" y2="86351"/>
                            <a14:foregroundMark x1="43111" y1="86081" x2="51556" y2="95811"/>
                            <a14:foregroundMark x1="51556" y1="95811" x2="56889" y2="96216"/>
                            <a14:foregroundMark x1="96556" y1="79054" x2="96556" y2="79054"/>
                            <a14:foregroundMark x1="94889" y1="77432" x2="95556" y2="80405"/>
                            <a14:foregroundMark x1="66667" y1="83919" x2="83222" y2="84189"/>
                            <a14:foregroundMark x1="83222" y1="84189" x2="98333" y2="82973"/>
                            <a14:foregroundMark x1="98333" y1="82973" x2="99556" y2="74865"/>
                            <a14:foregroundMark x1="99556" y1="74865" x2="90556" y2="73514"/>
                            <a14:foregroundMark x1="90556" y1="73514" x2="71333" y2="79459"/>
                            <a14:foregroundMark x1="71333" y1="79459" x2="66778" y2="83243"/>
                            <a14:backgroundMark x1="13556" y1="11486" x2="14778" y2="18378"/>
                            <a14:backgroundMark x1="14778" y1="18378" x2="40889" y2="21351"/>
                            <a14:backgroundMark x1="40889" y1="21351" x2="78222" y2="49054"/>
                            <a14:backgroundMark x1="93333" y1="94189" x2="80000" y2="89730"/>
                            <a14:backgroundMark x1="29000" y1="92703" x2="8667" y2="93243"/>
                            <a14:backgroundMark x1="64333" y1="89459" x2="71667" y2="92432"/>
                            <a14:backgroundMark x1="71667" y1="92432" x2="73889" y2="98514"/>
                            <a14:backgroundMark x1="65889" y1="97703" x2="61556" y2="90946"/>
                            <a14:backgroundMark x1="61556" y1="90946" x2="69930" y2="86898"/>
                            <a14:backgroundMark x1="93618" y1="86176" x2="99333" y2="94865"/>
                            <a14:backgroundMark x1="99333" y1="94865" x2="99333" y2="98243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469"/>
              <a:stretch/>
            </p:blipFill>
            <p:spPr bwMode="auto">
              <a:xfrm>
                <a:off x="-3150430" y="816996"/>
                <a:ext cx="2937302" cy="240196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21" name="Picture 20" descr="McGraw Hill GO">
              <a:extLst>
                <a:ext uri="{FF2B5EF4-FFF2-40B4-BE49-F238E27FC236}">
                  <a16:creationId xmlns:a16="http://schemas.microsoft.com/office/drawing/2014/main" id="{985D99EC-0E64-6696-CA81-735E8D9A788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638757" y="5162364"/>
              <a:ext cx="1791443" cy="844672"/>
            </a:xfrm>
            <a:prstGeom prst="rect">
              <a:avLst/>
            </a:prstGeom>
          </p:spPr>
        </p:pic>
      </p:grpSp>
      <p:pic>
        <p:nvPicPr>
          <p:cNvPr id="14" name="Picture 13" descr="Sharpen on a computer screen and mobile phone screen.">
            <a:extLst>
              <a:ext uri="{FF2B5EF4-FFF2-40B4-BE49-F238E27FC236}">
                <a16:creationId xmlns:a16="http://schemas.microsoft.com/office/drawing/2014/main" id="{89D2B2D2-C204-9A78-7D5B-E1B3BD72D0A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54223" y="4829092"/>
            <a:ext cx="2562641" cy="1959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22279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ver Slides">
  <a:themeElements>
    <a:clrScheme name="Custom 3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352815ED-5449-C549-90F0-EF17730CF768}"/>
    </a:ext>
  </a:extLst>
</a:theme>
</file>

<file path=ppt/theme/theme10.xml><?xml version="1.0" encoding="utf-8"?>
<a:theme xmlns:a="http://schemas.openxmlformats.org/drawingml/2006/main" name="Closing Slides">
  <a:themeElements>
    <a:clrScheme name="Custom 3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5D7D9312-D834-4646-A40F-5CFBDD29F038}"/>
    </a:ext>
  </a:extLst>
</a:theme>
</file>

<file path=ppt/theme/theme11.xml><?xml version="1.0" encoding="utf-8"?>
<a:theme xmlns:a="http://schemas.openxmlformats.org/drawingml/2006/main" name="Master Slide Gray Header">
  <a:themeElements>
    <a:clrScheme name="Custom 2">
      <a:dk1>
        <a:srgbClr val="333333"/>
      </a:dk1>
      <a:lt1>
        <a:srgbClr val="FFFFFF"/>
      </a:lt1>
      <a:dk2>
        <a:srgbClr val="06235B"/>
      </a:dk2>
      <a:lt2>
        <a:srgbClr val="666666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06235B"/>
      </a:accent5>
      <a:accent6>
        <a:srgbClr val="D9E5FC"/>
      </a:accent6>
      <a:hlink>
        <a:srgbClr val="666666"/>
      </a:hlink>
      <a:folHlink>
        <a:srgbClr val="33333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cGraw Hill PPT template as of 12.7.21" id="{AFE06423-DED1-418F-A980-C7FCDD9FF36E}" vid="{37397CAB-5060-489A-BB65-9DFAEE360247}"/>
    </a:ext>
  </a:extLst>
</a:theme>
</file>

<file path=ppt/theme/theme12.xml><?xml version="1.0" encoding="utf-8"?>
<a:theme xmlns:a="http://schemas.openxmlformats.org/drawingml/2006/main" name="7_Office Theme">
  <a:themeElements>
    <a:clrScheme name="Redi">
      <a:dk1>
        <a:srgbClr val="313936"/>
      </a:dk1>
      <a:lt1>
        <a:srgbClr val="F2F6F3"/>
      </a:lt1>
      <a:dk2>
        <a:srgbClr val="313936"/>
      </a:dk2>
      <a:lt2>
        <a:srgbClr val="F3F6F4"/>
      </a:lt2>
      <a:accent1>
        <a:srgbClr val="FED67A"/>
      </a:accent1>
      <a:accent2>
        <a:srgbClr val="F4A352"/>
      </a:accent2>
      <a:accent3>
        <a:srgbClr val="F16E55"/>
      </a:accent3>
      <a:accent4>
        <a:srgbClr val="BE497F"/>
      </a:accent4>
      <a:accent5>
        <a:srgbClr val="AA285E"/>
      </a:accent5>
      <a:accent6>
        <a:srgbClr val="4D2F71"/>
      </a:accent6>
      <a:hlink>
        <a:srgbClr val="57C1DD"/>
      </a:hlink>
      <a:folHlink>
        <a:srgbClr val="1E93C6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Office Theme 2013 - 202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able of Contents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B39F900F-F438-ED4C-9BB9-27EDD81E7952}"/>
    </a:ext>
  </a:extLst>
</a:theme>
</file>

<file path=ppt/theme/theme3.xml><?xml version="1.0" encoding="utf-8"?>
<a:theme xmlns:a="http://schemas.openxmlformats.org/drawingml/2006/main" name="Chapter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DED5EA3D-16A4-7C45-BF12-D3DCD01D7420}"/>
    </a:ext>
  </a:extLst>
</a:theme>
</file>

<file path=ppt/theme/theme4.xml><?xml version="1.0" encoding="utf-8"?>
<a:theme xmlns:a="http://schemas.openxmlformats.org/drawingml/2006/main" name="Split Content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C3BA3656-BF0F-DA41-B94C-4D0F4B5A7075}"/>
    </a:ext>
  </a:extLst>
</a:theme>
</file>

<file path=ppt/theme/theme5.xml><?xml version="1.0" encoding="utf-8"?>
<a:theme xmlns:a="http://schemas.openxmlformats.org/drawingml/2006/main" name="List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845AF564-5821-B446-B673-46A17AAE1048}"/>
    </a:ext>
  </a:extLst>
</a:theme>
</file>

<file path=ppt/theme/theme6.xml><?xml version="1.0" encoding="utf-8"?>
<a:theme xmlns:a="http://schemas.openxmlformats.org/drawingml/2006/main" name="Call-Out Box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15D6BFAF-FDB0-6C4F-BE05-70B8932CB53C}"/>
    </a:ext>
  </a:extLst>
</a:theme>
</file>

<file path=ppt/theme/theme7.xml><?xml version="1.0" encoding="utf-8"?>
<a:theme xmlns:a="http://schemas.openxmlformats.org/drawingml/2006/main" name="Column and Statistic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68866F8D-219E-1D48-8232-F35BAF3AB18E}"/>
    </a:ext>
  </a:extLst>
</a:theme>
</file>

<file path=ppt/theme/theme8.xml><?xml version="1.0" encoding="utf-8"?>
<a:theme xmlns:a="http://schemas.openxmlformats.org/drawingml/2006/main" name="Quotes">
  <a:themeElements>
    <a:clrScheme name="Custom 2">
      <a:dk1>
        <a:srgbClr val="333333"/>
      </a:dk1>
      <a:lt1>
        <a:srgbClr val="FFFFFF"/>
      </a:lt1>
      <a:dk2>
        <a:srgbClr val="06235B"/>
      </a:dk2>
      <a:lt2>
        <a:srgbClr val="666666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06235B"/>
      </a:accent5>
      <a:accent6>
        <a:srgbClr val="D9E5FC"/>
      </a:accent6>
      <a:hlink>
        <a:srgbClr val="666666"/>
      </a:hlink>
      <a:folHlink>
        <a:srgbClr val="33333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99952907-742D-2147-98E7-3817E1F17243}"/>
    </a:ext>
  </a:extLst>
</a:theme>
</file>

<file path=ppt/theme/theme9.xml><?xml version="1.0" encoding="utf-8"?>
<a:theme xmlns:a="http://schemas.openxmlformats.org/drawingml/2006/main" name="Bio Slides">
  <a:themeElements>
    <a:clrScheme name="Custom 2">
      <a:dk1>
        <a:srgbClr val="333333"/>
      </a:dk1>
      <a:lt1>
        <a:srgbClr val="FFFFFF"/>
      </a:lt1>
      <a:dk2>
        <a:srgbClr val="06235B"/>
      </a:dk2>
      <a:lt2>
        <a:srgbClr val="666666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06235B"/>
      </a:accent5>
      <a:accent6>
        <a:srgbClr val="D9E5FC"/>
      </a:accent6>
      <a:hlink>
        <a:srgbClr val="666666"/>
      </a:hlink>
      <a:folHlink>
        <a:srgbClr val="33333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E689B527-ECED-9640-BAF2-E295E40E1BB3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63E5BD4A2DB99489DADB245B77948E1" ma:contentTypeVersion="14" ma:contentTypeDescription="Create a new document." ma:contentTypeScope="" ma:versionID="8fe2cf224561322f6307ff69f0cbd4e8">
  <xsd:schema xmlns:xsd="http://www.w3.org/2001/XMLSchema" xmlns:xs="http://www.w3.org/2001/XMLSchema" xmlns:p="http://schemas.microsoft.com/office/2006/metadata/properties" xmlns:ns2="55eee036-b312-4691-be2e-efe9fdaf1737" xmlns:ns3="4f83251b-4d3b-4580-8981-be5e2b08b791" targetNamespace="http://schemas.microsoft.com/office/2006/metadata/properties" ma:root="true" ma:fieldsID="efd146875e61d015b75b2115db56588f" ns2:_="" ns3:_="">
    <xsd:import namespace="55eee036-b312-4691-be2e-efe9fdaf1737"/>
    <xsd:import namespace="4f83251b-4d3b-4580-8981-be5e2b08b7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5eee036-b312-4691-be2e-efe9fdaf173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b8617a1-beef-4e24-867f-51551f54cfe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f83251b-4d3b-4580-8981-be5e2b08b791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c39b3064-63db-4cd0-875f-805d9032981a}" ma:internalName="TaxCatchAll" ma:showField="CatchAllData" ma:web="4f83251b-4d3b-4580-8981-be5e2b08b79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5eee036-b312-4691-be2e-efe9fdaf1737">
      <Terms xmlns="http://schemas.microsoft.com/office/infopath/2007/PartnerControls"/>
    </lcf76f155ced4ddcb4097134ff3c332f>
    <TaxCatchAll xmlns="4f83251b-4d3b-4580-8981-be5e2b08b791" xsi:nil="true"/>
  </documentManagement>
</p:properties>
</file>

<file path=customXml/itemProps1.xml><?xml version="1.0" encoding="utf-8"?>
<ds:datastoreItem xmlns:ds="http://schemas.openxmlformats.org/officeDocument/2006/customXml" ds:itemID="{94A09875-D940-4FCE-AC9B-1E5E448CF0F8}">
  <ds:schemaRefs>
    <ds:schemaRef ds:uri="4f83251b-4d3b-4580-8981-be5e2b08b791"/>
    <ds:schemaRef ds:uri="55eee036-b312-4691-be2e-efe9fdaf173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A92827D6-6DC0-4774-96A1-CBE03911362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4F98F79-CDE5-4D73-B2C6-1BC6C1BC02F1}">
  <ds:schemaRefs>
    <ds:schemaRef ds:uri="http://schemas.openxmlformats.org/package/2006/metadata/core-properties"/>
    <ds:schemaRef ds:uri="55eee036-b312-4691-be2e-efe9fdaf1737"/>
    <ds:schemaRef ds:uri="http://schemas.microsoft.com/office/2006/metadata/properties"/>
    <ds:schemaRef ds:uri="http://purl.org/dc/dcmitype/"/>
    <ds:schemaRef ds:uri="http://purl.org/dc/elements/1.1/"/>
    <ds:schemaRef ds:uri="http://schemas.microsoft.com/office/2006/documentManagement/types"/>
    <ds:schemaRef ds:uri="4f83251b-4d3b-4580-8981-be5e2b08b791"/>
    <ds:schemaRef ds:uri="http://schemas.microsoft.com/office/infopath/2007/PartnerControls"/>
    <ds:schemaRef ds:uri="http://www.w3.org/XML/1998/namespace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3.03.13 McGraw Hill PowerPoint Template</Template>
  <TotalTime>10</TotalTime>
  <Words>1241</Words>
  <Application>Microsoft Macintosh PowerPoint</Application>
  <PresentationFormat>Widescreen</PresentationFormat>
  <Paragraphs>160</Paragraphs>
  <Slides>24</Slides>
  <Notes>2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46" baseType="lpstr">
      <vt:lpstr>Arial</vt:lpstr>
      <vt:lpstr>Arial Black</vt:lpstr>
      <vt:lpstr>Arial,Sans-Serif</vt:lpstr>
      <vt:lpstr>Calibri</vt:lpstr>
      <vt:lpstr>Magazine Grotesque</vt:lpstr>
      <vt:lpstr>Magazine Grotesque Bold</vt:lpstr>
      <vt:lpstr>Proxima Nova</vt:lpstr>
      <vt:lpstr>Wingdings</vt:lpstr>
      <vt:lpstr>Wingdings,Sans-Serif</vt:lpstr>
      <vt:lpstr>Cover Slides</vt:lpstr>
      <vt:lpstr>Table of Contents Slides</vt:lpstr>
      <vt:lpstr>Chapter Slides</vt:lpstr>
      <vt:lpstr>Split Content Slides</vt:lpstr>
      <vt:lpstr>List Slides</vt:lpstr>
      <vt:lpstr>Call-Out Box Slides</vt:lpstr>
      <vt:lpstr>Column and Statistic Slides</vt:lpstr>
      <vt:lpstr>Quotes</vt:lpstr>
      <vt:lpstr>Bio Slides</vt:lpstr>
      <vt:lpstr>Closing Slides</vt:lpstr>
      <vt:lpstr>Master Slide Gray Header</vt:lpstr>
      <vt:lpstr>7_Office Theme</vt:lpstr>
      <vt:lpstr>think-cell Slide</vt:lpstr>
      <vt:lpstr>Slides Available for the First Day of Class: Sharpen Companion, non-IA, D2L Brightspace</vt:lpstr>
      <vt:lpstr>McGraw Hill GO</vt:lpstr>
      <vt:lpstr>What is McGraw Hill GO?</vt:lpstr>
      <vt:lpstr>Step 1</vt:lpstr>
      <vt:lpstr>Step 2</vt:lpstr>
      <vt:lpstr>Step 3</vt:lpstr>
      <vt:lpstr>Step 4</vt:lpstr>
      <vt:lpstr>Getting Started with McGraw Hill GO®  and Sharpen  </vt:lpstr>
      <vt:lpstr>Students: What is GO with Sharpen?</vt:lpstr>
      <vt:lpstr>Students, here are some tips to ace your exams with Sharpen:</vt:lpstr>
      <vt:lpstr>Sharpen is the ultimate college study app for exam prep</vt:lpstr>
      <vt:lpstr>Download the Sharpen College Study App – Scan This Code​</vt:lpstr>
      <vt:lpstr>Getting Started with McGraw Hill GO® and Sharpen</vt:lpstr>
      <vt:lpstr>Accessing McGraw Hill GO:  D2L Brightspace</vt:lpstr>
      <vt:lpstr>Accessing McGraw Hill GO:  Sharpen</vt:lpstr>
      <vt:lpstr>Accessing McGraw Hill GO:  Sharpen Purchase</vt:lpstr>
      <vt:lpstr>Step 4A:</vt:lpstr>
      <vt:lpstr>Step 4B-4C:</vt:lpstr>
      <vt:lpstr>Step 5A: </vt:lpstr>
      <vt:lpstr>Step 5B-5C</vt:lpstr>
      <vt:lpstr>Step 6C: </vt:lpstr>
      <vt:lpstr>Sharpen Companion Log-In Flow GO: IA and non-IA  </vt:lpstr>
      <vt:lpstr>Logging into Sharpen: Registered Students</vt:lpstr>
      <vt:lpstr>Thank you!</vt:lpstr>
    </vt:vector>
  </TitlesOfParts>
  <Company>McGraw-Hi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tting Started with ALEKS®</dc:title>
  <dc:creator>Hicks, Selena</dc:creator>
  <cp:lastModifiedBy>Griffin, Raven</cp:lastModifiedBy>
  <cp:revision>5</cp:revision>
  <dcterms:created xsi:type="dcterms:W3CDTF">2023-07-10T01:20:11Z</dcterms:created>
  <dcterms:modified xsi:type="dcterms:W3CDTF">2025-05-30T16:42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3E5BD4A2DB99489DADB245B77948E1</vt:lpwstr>
  </property>
  <property fmtid="{D5CDD505-2E9C-101B-9397-08002B2CF9AE}" pid="3" name="MediaServiceImageTags">
    <vt:lpwstr/>
  </property>
  <property fmtid="{D5CDD505-2E9C-101B-9397-08002B2CF9AE}" pid="4" name="Order">
    <vt:r8>2220300</vt:r8>
  </property>
  <property fmtid="{D5CDD505-2E9C-101B-9397-08002B2CF9AE}" pid="5" name="xd_Signature">
    <vt:bool>false</vt:bool>
  </property>
  <property fmtid="{D5CDD505-2E9C-101B-9397-08002B2CF9AE}" pid="6" name="xd_ProgID">
    <vt:lpwstr/>
  </property>
  <property fmtid="{D5CDD505-2E9C-101B-9397-08002B2CF9AE}" pid="7" name="ComplianceAssetId">
    <vt:lpwstr/>
  </property>
  <property fmtid="{D5CDD505-2E9C-101B-9397-08002B2CF9AE}" pid="8" name="TemplateUrl">
    <vt:lpwstr/>
  </property>
  <property fmtid="{D5CDD505-2E9C-101B-9397-08002B2CF9AE}" pid="9" name="_ExtendedDescription">
    <vt:lpwstr/>
  </property>
  <property fmtid="{D5CDD505-2E9C-101B-9397-08002B2CF9AE}" pid="10" name="TriggerFlowInfo">
    <vt:lpwstr/>
  </property>
</Properties>
</file>